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7" r:id="rId6"/>
    <p:sldId id="258" r:id="rId7"/>
    <p:sldId id="259" r:id="rId8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4C03"/>
    <a:srgbClr val="EC6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69EC224-7693-4801-B2CE-45866694736E}" v="60" dt="2021-01-06T20:55:07.9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98" autoAdjust="0"/>
    <p:restoredTop sz="94660"/>
  </p:normalViewPr>
  <p:slideViewPr>
    <p:cSldViewPr snapToGrid="0">
      <p:cViewPr>
        <p:scale>
          <a:sx n="184" d="100"/>
          <a:sy n="184" d="100"/>
        </p:scale>
        <p:origin x="-3632" y="-19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rn, Angelina" userId="17de84f0-3c4d-4bf9-80a7-5182f89cb293" providerId="ADAL" clId="{C69EC224-7693-4801-B2CE-45866694736E}"/>
    <pc:docChg chg="undo custSel modSld">
      <pc:chgData name="Horn, Angelina" userId="17de84f0-3c4d-4bf9-80a7-5182f89cb293" providerId="ADAL" clId="{C69EC224-7693-4801-B2CE-45866694736E}" dt="2021-01-06T20:55:22.745" v="598" actId="1076"/>
      <pc:docMkLst>
        <pc:docMk/>
      </pc:docMkLst>
      <pc:sldChg chg="addSp delSp modSp">
        <pc:chgData name="Horn, Angelina" userId="17de84f0-3c4d-4bf9-80a7-5182f89cb293" providerId="ADAL" clId="{C69EC224-7693-4801-B2CE-45866694736E}" dt="2021-01-06T20:55:22.745" v="598" actId="1076"/>
        <pc:sldMkLst>
          <pc:docMk/>
          <pc:sldMk cId="4091957854" sldId="256"/>
        </pc:sldMkLst>
        <pc:spChg chg="mod">
          <ac:chgData name="Horn, Angelina" userId="17de84f0-3c4d-4bf9-80a7-5182f89cb293" providerId="ADAL" clId="{C69EC224-7693-4801-B2CE-45866694736E}" dt="2021-01-06T11:33:01.712" v="345" actId="1076"/>
          <ac:spMkLst>
            <pc:docMk/>
            <pc:sldMk cId="4091957854" sldId="256"/>
            <ac:spMk id="30" creationId="{0954690B-E44F-4339-AD90-9C0400EA3619}"/>
          </ac:spMkLst>
        </pc:spChg>
        <pc:spChg chg="mod">
          <ac:chgData name="Horn, Angelina" userId="17de84f0-3c4d-4bf9-80a7-5182f89cb293" providerId="ADAL" clId="{C69EC224-7693-4801-B2CE-45866694736E}" dt="2021-01-06T11:24:40.496" v="275" actId="404"/>
          <ac:spMkLst>
            <pc:docMk/>
            <pc:sldMk cId="4091957854" sldId="256"/>
            <ac:spMk id="31" creationId="{450E1619-0B4D-45E8-8B4D-1B69BF89B087}"/>
          </ac:spMkLst>
        </pc:spChg>
        <pc:spChg chg="mod">
          <ac:chgData name="Horn, Angelina" userId="17de84f0-3c4d-4bf9-80a7-5182f89cb293" providerId="ADAL" clId="{C69EC224-7693-4801-B2CE-45866694736E}" dt="2021-01-06T11:32:39.105" v="343" actId="1076"/>
          <ac:spMkLst>
            <pc:docMk/>
            <pc:sldMk cId="4091957854" sldId="256"/>
            <ac:spMk id="32" creationId="{B3061F80-8FCF-4399-8C50-C44B60BBAD47}"/>
          </ac:spMkLst>
        </pc:spChg>
        <pc:spChg chg="mod">
          <ac:chgData name="Horn, Angelina" userId="17de84f0-3c4d-4bf9-80a7-5182f89cb293" providerId="ADAL" clId="{C69EC224-7693-4801-B2CE-45866694736E}" dt="2021-01-06T20:34:44.535" v="364" actId="1076"/>
          <ac:spMkLst>
            <pc:docMk/>
            <pc:sldMk cId="4091957854" sldId="256"/>
            <ac:spMk id="34" creationId="{7AA44258-3B33-43B7-AC4D-94142CDAB65E}"/>
          </ac:spMkLst>
        </pc:spChg>
        <pc:spChg chg="mod">
          <ac:chgData name="Horn, Angelina" userId="17de84f0-3c4d-4bf9-80a7-5182f89cb293" providerId="ADAL" clId="{C69EC224-7693-4801-B2CE-45866694736E}" dt="2021-01-06T11:31:20.719" v="335" actId="1076"/>
          <ac:spMkLst>
            <pc:docMk/>
            <pc:sldMk cId="4091957854" sldId="256"/>
            <ac:spMk id="36" creationId="{17FCC1E7-2BB9-4E8C-AC3B-A45FB57AD2F7}"/>
          </ac:spMkLst>
        </pc:spChg>
        <pc:spChg chg="del mod">
          <ac:chgData name="Horn, Angelina" userId="17de84f0-3c4d-4bf9-80a7-5182f89cb293" providerId="ADAL" clId="{C69EC224-7693-4801-B2CE-45866694736E}" dt="2021-01-06T20:34:03.122" v="353" actId="478"/>
          <ac:spMkLst>
            <pc:docMk/>
            <pc:sldMk cId="4091957854" sldId="256"/>
            <ac:spMk id="38" creationId="{8A2DD3D1-8F6A-41D2-A4B6-E02C732B21AC}"/>
          </ac:spMkLst>
        </pc:spChg>
        <pc:spChg chg="mod">
          <ac:chgData name="Horn, Angelina" userId="17de84f0-3c4d-4bf9-80a7-5182f89cb293" providerId="ADAL" clId="{C69EC224-7693-4801-B2CE-45866694736E}" dt="2021-01-06T10:46:24.940" v="78" actId="1076"/>
          <ac:spMkLst>
            <pc:docMk/>
            <pc:sldMk cId="4091957854" sldId="256"/>
            <ac:spMk id="40" creationId="{28AD6633-3E28-439E-BBA2-F027CE4C5BEF}"/>
          </ac:spMkLst>
        </pc:spChg>
        <pc:spChg chg="mod">
          <ac:chgData name="Horn, Angelina" userId="17de84f0-3c4d-4bf9-80a7-5182f89cb293" providerId="ADAL" clId="{C69EC224-7693-4801-B2CE-45866694736E}" dt="2021-01-06T11:30:40.318" v="333" actId="688"/>
          <ac:spMkLst>
            <pc:docMk/>
            <pc:sldMk cId="4091957854" sldId="256"/>
            <ac:spMk id="41" creationId="{0AD7B7BA-2848-4571-ABED-434685C15A99}"/>
          </ac:spMkLst>
        </pc:spChg>
        <pc:spChg chg="del mod">
          <ac:chgData name="Horn, Angelina" userId="17de84f0-3c4d-4bf9-80a7-5182f89cb293" providerId="ADAL" clId="{C69EC224-7693-4801-B2CE-45866694736E}" dt="2021-01-06T20:34:05.838" v="355" actId="478"/>
          <ac:spMkLst>
            <pc:docMk/>
            <pc:sldMk cId="4091957854" sldId="256"/>
            <ac:spMk id="43" creationId="{3D1CC4C8-5821-48A4-B3BE-B2704ADDE33E}"/>
          </ac:spMkLst>
        </pc:spChg>
        <pc:spChg chg="mod">
          <ac:chgData name="Horn, Angelina" userId="17de84f0-3c4d-4bf9-80a7-5182f89cb293" providerId="ADAL" clId="{C69EC224-7693-4801-B2CE-45866694736E}" dt="2021-01-06T11:30:33.990" v="332" actId="688"/>
          <ac:spMkLst>
            <pc:docMk/>
            <pc:sldMk cId="4091957854" sldId="256"/>
            <ac:spMk id="46" creationId="{8CB36DD8-50E3-414C-99B7-110FD1FFD6AB}"/>
          </ac:spMkLst>
        </pc:spChg>
        <pc:spChg chg="add mod">
          <ac:chgData name="Horn, Angelina" userId="17de84f0-3c4d-4bf9-80a7-5182f89cb293" providerId="ADAL" clId="{C69EC224-7693-4801-B2CE-45866694736E}" dt="2021-01-06T20:46:40.692" v="553" actId="1076"/>
          <ac:spMkLst>
            <pc:docMk/>
            <pc:sldMk cId="4091957854" sldId="256"/>
            <ac:spMk id="47" creationId="{8245B961-5DA7-46FC-AF57-4B45E80A001C}"/>
          </ac:spMkLst>
        </pc:spChg>
        <pc:spChg chg="add mod">
          <ac:chgData name="Horn, Angelina" userId="17de84f0-3c4d-4bf9-80a7-5182f89cb293" providerId="ADAL" clId="{C69EC224-7693-4801-B2CE-45866694736E}" dt="2021-01-06T20:37:47.854" v="434" actId="20577"/>
          <ac:spMkLst>
            <pc:docMk/>
            <pc:sldMk cId="4091957854" sldId="256"/>
            <ac:spMk id="48" creationId="{1BF43CBD-73A0-4ED4-BA40-4B8CBEDC6674}"/>
          </ac:spMkLst>
        </pc:spChg>
        <pc:spChg chg="del mod">
          <ac:chgData name="Horn, Angelina" userId="17de84f0-3c4d-4bf9-80a7-5182f89cb293" providerId="ADAL" clId="{C69EC224-7693-4801-B2CE-45866694736E}" dt="2021-01-06T10:42:51.233" v="32" actId="478"/>
          <ac:spMkLst>
            <pc:docMk/>
            <pc:sldMk cId="4091957854" sldId="256"/>
            <ac:spMk id="51" creationId="{0FE3BB53-9D90-4853-86A0-BC0AF2C1E9B6}"/>
          </ac:spMkLst>
        </pc:spChg>
        <pc:spChg chg="mod">
          <ac:chgData name="Horn, Angelina" userId="17de84f0-3c4d-4bf9-80a7-5182f89cb293" providerId="ADAL" clId="{C69EC224-7693-4801-B2CE-45866694736E}" dt="2021-01-06T11:25:43.512" v="292" actId="404"/>
          <ac:spMkLst>
            <pc:docMk/>
            <pc:sldMk cId="4091957854" sldId="256"/>
            <ac:spMk id="52" creationId="{F196B3C1-D4E1-4142-8151-2E737B6206F8}"/>
          </ac:spMkLst>
        </pc:spChg>
        <pc:spChg chg="add mod">
          <ac:chgData name="Horn, Angelina" userId="17de84f0-3c4d-4bf9-80a7-5182f89cb293" providerId="ADAL" clId="{C69EC224-7693-4801-B2CE-45866694736E}" dt="2021-01-06T20:43:58.196" v="535" actId="1076"/>
          <ac:spMkLst>
            <pc:docMk/>
            <pc:sldMk cId="4091957854" sldId="256"/>
            <ac:spMk id="56" creationId="{721B8FD1-A0C7-4FD4-AD5C-7BD3B3BD0C9C}"/>
          </ac:spMkLst>
        </pc:spChg>
        <pc:spChg chg="del mod">
          <ac:chgData name="Horn, Angelina" userId="17de84f0-3c4d-4bf9-80a7-5182f89cb293" providerId="ADAL" clId="{C69EC224-7693-4801-B2CE-45866694736E}" dt="2021-01-06T10:43:00.886" v="37" actId="478"/>
          <ac:spMkLst>
            <pc:docMk/>
            <pc:sldMk cId="4091957854" sldId="256"/>
            <ac:spMk id="59" creationId="{5479D107-0C5B-4980-8658-4FD17A772EDF}"/>
          </ac:spMkLst>
        </pc:spChg>
        <pc:spChg chg="add mod">
          <ac:chgData name="Horn, Angelina" userId="17de84f0-3c4d-4bf9-80a7-5182f89cb293" providerId="ADAL" clId="{C69EC224-7693-4801-B2CE-45866694736E}" dt="2021-01-06T20:42:51.972" v="516" actId="1076"/>
          <ac:spMkLst>
            <pc:docMk/>
            <pc:sldMk cId="4091957854" sldId="256"/>
            <ac:spMk id="64" creationId="{27F805F7-AF9B-4421-B117-61078BC1D1FD}"/>
          </ac:spMkLst>
        </pc:spChg>
        <pc:spChg chg="del">
          <ac:chgData name="Horn, Angelina" userId="17de84f0-3c4d-4bf9-80a7-5182f89cb293" providerId="ADAL" clId="{C69EC224-7693-4801-B2CE-45866694736E}" dt="2021-01-06T10:43:20.799" v="49" actId="478"/>
          <ac:spMkLst>
            <pc:docMk/>
            <pc:sldMk cId="4091957854" sldId="256"/>
            <ac:spMk id="64" creationId="{46ECB91D-FDDF-4B95-AE26-3C2B95A4BC92}"/>
          </ac:spMkLst>
        </pc:spChg>
        <pc:spChg chg="add mod">
          <ac:chgData name="Horn, Angelina" userId="17de84f0-3c4d-4bf9-80a7-5182f89cb293" providerId="ADAL" clId="{C69EC224-7693-4801-B2CE-45866694736E}" dt="2021-01-06T20:42:47.917" v="515" actId="1076"/>
          <ac:spMkLst>
            <pc:docMk/>
            <pc:sldMk cId="4091957854" sldId="256"/>
            <ac:spMk id="66" creationId="{BCEEC36F-637B-4CD7-862F-31841DE32718}"/>
          </ac:spMkLst>
        </pc:spChg>
        <pc:spChg chg="del mod">
          <ac:chgData name="Horn, Angelina" userId="17de84f0-3c4d-4bf9-80a7-5182f89cb293" providerId="ADAL" clId="{C69EC224-7693-4801-B2CE-45866694736E}" dt="2021-01-06T10:42:58.647" v="35" actId="478"/>
          <ac:spMkLst>
            <pc:docMk/>
            <pc:sldMk cId="4091957854" sldId="256"/>
            <ac:spMk id="68" creationId="{CB7C1AD9-0D94-4660-AA6F-9B37D50C97A1}"/>
          </ac:spMkLst>
        </pc:spChg>
        <pc:spChg chg="mod">
          <ac:chgData name="Horn, Angelina" userId="17de84f0-3c4d-4bf9-80a7-5182f89cb293" providerId="ADAL" clId="{C69EC224-7693-4801-B2CE-45866694736E}" dt="2021-01-06T11:28:44.968" v="321" actId="1076"/>
          <ac:spMkLst>
            <pc:docMk/>
            <pc:sldMk cId="4091957854" sldId="256"/>
            <ac:spMk id="74" creationId="{47793985-A8EE-45F5-8DCF-106047B1D4E9}"/>
          </ac:spMkLst>
        </pc:spChg>
        <pc:spChg chg="add del mod">
          <ac:chgData name="Horn, Angelina" userId="17de84f0-3c4d-4bf9-80a7-5182f89cb293" providerId="ADAL" clId="{C69EC224-7693-4801-B2CE-45866694736E}" dt="2021-01-06T20:42:20.003" v="510" actId="478"/>
          <ac:spMkLst>
            <pc:docMk/>
            <pc:sldMk cId="4091957854" sldId="256"/>
            <ac:spMk id="80" creationId="{3C470E9E-AAC5-449B-B45C-4BA09F918B5F}"/>
          </ac:spMkLst>
        </pc:spChg>
        <pc:spChg chg="add mod">
          <ac:chgData name="Horn, Angelina" userId="17de84f0-3c4d-4bf9-80a7-5182f89cb293" providerId="ADAL" clId="{C69EC224-7693-4801-B2CE-45866694736E}" dt="2021-01-06T20:44:00.782" v="542" actId="20577"/>
          <ac:spMkLst>
            <pc:docMk/>
            <pc:sldMk cId="4091957854" sldId="256"/>
            <ac:spMk id="81" creationId="{17794855-78CB-49AF-87DF-68DCD8A46B2C}"/>
          </ac:spMkLst>
        </pc:spChg>
        <pc:spChg chg="add del mod">
          <ac:chgData name="Horn, Angelina" userId="17de84f0-3c4d-4bf9-80a7-5182f89cb293" providerId="ADAL" clId="{C69EC224-7693-4801-B2CE-45866694736E}" dt="2021-01-06T20:52:27.128" v="588" actId="478"/>
          <ac:spMkLst>
            <pc:docMk/>
            <pc:sldMk cId="4091957854" sldId="256"/>
            <ac:spMk id="83" creationId="{21A5B4AF-7C04-4D99-A6B5-3C9C55543628}"/>
          </ac:spMkLst>
        </pc:spChg>
        <pc:spChg chg="add del mod">
          <ac:chgData name="Horn, Angelina" userId="17de84f0-3c4d-4bf9-80a7-5182f89cb293" providerId="ADAL" clId="{C69EC224-7693-4801-B2CE-45866694736E}" dt="2021-01-06T20:52:50.743" v="590" actId="478"/>
          <ac:spMkLst>
            <pc:docMk/>
            <pc:sldMk cId="4091957854" sldId="256"/>
            <ac:spMk id="84" creationId="{9A0EE0D1-11FA-473C-8326-EC3279A4E436}"/>
          </ac:spMkLst>
        </pc:spChg>
        <pc:spChg chg="add del mod ord">
          <ac:chgData name="Horn, Angelina" userId="17de84f0-3c4d-4bf9-80a7-5182f89cb293" providerId="ADAL" clId="{C69EC224-7693-4801-B2CE-45866694736E}" dt="2021-01-06T20:53:48.710" v="593" actId="478"/>
          <ac:spMkLst>
            <pc:docMk/>
            <pc:sldMk cId="4091957854" sldId="256"/>
            <ac:spMk id="85" creationId="{411BAC81-AB8B-463A-AFE6-A1CA07B6D3E0}"/>
          </ac:spMkLst>
        </pc:spChg>
        <pc:spChg chg="add del mod">
          <ac:chgData name="Horn, Angelina" userId="17de84f0-3c4d-4bf9-80a7-5182f89cb293" providerId="ADAL" clId="{C69EC224-7693-4801-B2CE-45866694736E}" dt="2021-01-06T20:44:41.085" v="545" actId="478"/>
          <ac:spMkLst>
            <pc:docMk/>
            <pc:sldMk cId="4091957854" sldId="256"/>
            <ac:spMk id="92" creationId="{78A0DA5B-C5E5-4333-9342-229D2BDCF787}"/>
          </ac:spMkLst>
        </pc:spChg>
        <pc:spChg chg="add mod">
          <ac:chgData name="Horn, Angelina" userId="17de84f0-3c4d-4bf9-80a7-5182f89cb293" providerId="ADAL" clId="{C69EC224-7693-4801-B2CE-45866694736E}" dt="2021-01-06T20:47:08.788" v="571" actId="1076"/>
          <ac:spMkLst>
            <pc:docMk/>
            <pc:sldMk cId="4091957854" sldId="256"/>
            <ac:spMk id="97" creationId="{C1EC443C-50E4-49F1-BCFF-2C7462B398F1}"/>
          </ac:spMkLst>
        </pc:spChg>
        <pc:spChg chg="add mod">
          <ac:chgData name="Horn, Angelina" userId="17de84f0-3c4d-4bf9-80a7-5182f89cb293" providerId="ADAL" clId="{C69EC224-7693-4801-B2CE-45866694736E}" dt="2021-01-06T20:47:21.611" v="581" actId="1076"/>
          <ac:spMkLst>
            <pc:docMk/>
            <pc:sldMk cId="4091957854" sldId="256"/>
            <ac:spMk id="98" creationId="{16B91D41-1397-43BB-B86F-F79BE12E7BF9}"/>
          </ac:spMkLst>
        </pc:spChg>
        <pc:spChg chg="mod">
          <ac:chgData name="Horn, Angelina" userId="17de84f0-3c4d-4bf9-80a7-5182f89cb293" providerId="ADAL" clId="{C69EC224-7693-4801-B2CE-45866694736E}" dt="2021-01-06T20:36:14.277" v="385" actId="122"/>
          <ac:spMkLst>
            <pc:docMk/>
            <pc:sldMk cId="4091957854" sldId="256"/>
            <ac:spMk id="108" creationId="{9E8BA6A1-A6DC-451C-8541-37166907CB32}"/>
          </ac:spMkLst>
        </pc:spChg>
        <pc:spChg chg="add del mod">
          <ac:chgData name="Horn, Angelina" userId="17de84f0-3c4d-4bf9-80a7-5182f89cb293" providerId="ADAL" clId="{C69EC224-7693-4801-B2CE-45866694736E}" dt="2021-01-06T20:55:16.923" v="597" actId="478"/>
          <ac:spMkLst>
            <pc:docMk/>
            <pc:sldMk cId="4091957854" sldId="256"/>
            <ac:spMk id="109" creationId="{70648A86-DF0C-47A9-BA3A-954C2008B391}"/>
          </ac:spMkLst>
        </pc:spChg>
        <pc:spChg chg="add mod">
          <ac:chgData name="Horn, Angelina" userId="17de84f0-3c4d-4bf9-80a7-5182f89cb293" providerId="ADAL" clId="{C69EC224-7693-4801-B2CE-45866694736E}" dt="2021-01-06T11:28:02.697" v="315" actId="1076"/>
          <ac:spMkLst>
            <pc:docMk/>
            <pc:sldMk cId="4091957854" sldId="256"/>
            <ac:spMk id="210" creationId="{A50D6072-400B-46E1-B1EB-BF9C43230475}"/>
          </ac:spMkLst>
        </pc:spChg>
        <pc:spChg chg="add mod">
          <ac:chgData name="Horn, Angelina" userId="17de84f0-3c4d-4bf9-80a7-5182f89cb293" providerId="ADAL" clId="{C69EC224-7693-4801-B2CE-45866694736E}" dt="2021-01-06T11:28:56.648" v="323" actId="1076"/>
          <ac:spMkLst>
            <pc:docMk/>
            <pc:sldMk cId="4091957854" sldId="256"/>
            <ac:spMk id="211" creationId="{3A3A8FB1-3200-4D9C-850D-DC614A6A585D}"/>
          </ac:spMkLst>
        </pc:spChg>
        <pc:spChg chg="add del mod">
          <ac:chgData name="Horn, Angelina" userId="17de84f0-3c4d-4bf9-80a7-5182f89cb293" providerId="ADAL" clId="{C69EC224-7693-4801-B2CE-45866694736E}" dt="2021-01-06T20:34:04.237" v="354" actId="478"/>
          <ac:spMkLst>
            <pc:docMk/>
            <pc:sldMk cId="4091957854" sldId="256"/>
            <ac:spMk id="212" creationId="{B54DB1A0-A9F0-4BF9-9227-C52D84244D7F}"/>
          </ac:spMkLst>
        </pc:spChg>
        <pc:spChg chg="add mod">
          <ac:chgData name="Horn, Angelina" userId="17de84f0-3c4d-4bf9-80a7-5182f89cb293" providerId="ADAL" clId="{C69EC224-7693-4801-B2CE-45866694736E}" dt="2021-01-06T11:24:38.506" v="274" actId="404"/>
          <ac:spMkLst>
            <pc:docMk/>
            <pc:sldMk cId="4091957854" sldId="256"/>
            <ac:spMk id="214" creationId="{0D5A3FBA-5744-4811-ADA6-6A21367E2C7F}"/>
          </ac:spMkLst>
        </pc:spChg>
        <pc:spChg chg="add mod">
          <ac:chgData name="Horn, Angelina" userId="17de84f0-3c4d-4bf9-80a7-5182f89cb293" providerId="ADAL" clId="{C69EC224-7693-4801-B2CE-45866694736E}" dt="2021-01-06T20:55:22.745" v="598" actId="1076"/>
          <ac:spMkLst>
            <pc:docMk/>
            <pc:sldMk cId="4091957854" sldId="256"/>
            <ac:spMk id="216" creationId="{25980747-2E19-4C55-B322-4FF2963A2E0D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7" creationId="{6FCC1832-5453-4329-A415-EF9C1ADCDB04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8" creationId="{14293D91-67B7-40EB-A587-FBE17947EA39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9" creationId="{00D1E938-ED4B-41F4-B5F5-AFB79BFFF5FD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0" creationId="{BBF2352B-2116-47BD-AEED-740946B89B28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1" creationId="{283F60D6-1A9C-4158-96F8-66D8D10B3386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2" creationId="{8F50066E-976F-486E-8D3C-06D52E6E9FA4}"/>
          </ac:spMkLst>
        </pc:spChg>
        <pc:picChg chg="add del mod">
          <ac:chgData name="Horn, Angelina" userId="17de84f0-3c4d-4bf9-80a7-5182f89cb293" providerId="ADAL" clId="{C69EC224-7693-4801-B2CE-45866694736E}" dt="2021-01-06T20:36:37.030" v="386" actId="478"/>
          <ac:picMkLst>
            <pc:docMk/>
            <pc:sldMk cId="4091957854" sldId="256"/>
            <ac:picMk id="4" creationId="{CD8ADF3B-7600-4B01-A516-96514B45E908}"/>
          </ac:picMkLst>
        </pc:picChg>
        <pc:picChg chg="add mod">
          <ac:chgData name="Horn, Angelina" userId="17de84f0-3c4d-4bf9-80a7-5182f89cb293" providerId="ADAL" clId="{C69EC224-7693-4801-B2CE-45866694736E}" dt="2021-01-06T20:37:20.807" v="394" actId="1076"/>
          <ac:picMkLst>
            <pc:docMk/>
            <pc:sldMk cId="4091957854" sldId="256"/>
            <ac:picMk id="6" creationId="{9BE2FF45-C6F7-47B1-A595-D5A63096B404}"/>
          </ac:picMkLst>
        </pc:picChg>
        <pc:picChg chg="add mod">
          <ac:chgData name="Horn, Angelina" userId="17de84f0-3c4d-4bf9-80a7-5182f89cb293" providerId="ADAL" clId="{C69EC224-7693-4801-B2CE-45866694736E}" dt="2021-01-06T20:37:15.662" v="393" actId="1076"/>
          <ac:picMkLst>
            <pc:docMk/>
            <pc:sldMk cId="4091957854" sldId="256"/>
            <ac:picMk id="8" creationId="{EA8D1B29-F7C7-4B2C-B5E1-9C3A50FAD3DD}"/>
          </ac:picMkLst>
        </pc:picChg>
        <pc:picChg chg="del mod">
          <ac:chgData name="Horn, Angelina" userId="17de84f0-3c4d-4bf9-80a7-5182f89cb293" providerId="ADAL" clId="{C69EC224-7693-4801-B2CE-45866694736E}" dt="2021-01-06T11:13:03.800" v="256" actId="478"/>
          <ac:picMkLst>
            <pc:docMk/>
            <pc:sldMk cId="4091957854" sldId="256"/>
            <ac:picMk id="9" creationId="{DA638DA1-40CC-4FC6-88C1-BEDBBC6138CD}"/>
          </ac:picMkLst>
        </pc:picChg>
        <pc:picChg chg="mod">
          <ac:chgData name="Horn, Angelina" userId="17de84f0-3c4d-4bf9-80a7-5182f89cb293" providerId="ADAL" clId="{C69EC224-7693-4801-B2CE-45866694736E}" dt="2021-01-06T10:44:29.658" v="61" actId="1076"/>
          <ac:picMkLst>
            <pc:docMk/>
            <pc:sldMk cId="4091957854" sldId="256"/>
            <ac:picMk id="11" creationId="{99366DB1-3600-49BF-B4E9-5E0618B42AF1}"/>
          </ac:picMkLst>
        </pc:picChg>
        <pc:picChg chg="mod">
          <ac:chgData name="Horn, Angelina" userId="17de84f0-3c4d-4bf9-80a7-5182f89cb293" providerId="ADAL" clId="{C69EC224-7693-4801-B2CE-45866694736E}" dt="2021-01-06T11:30:17.727" v="329" actId="1076"/>
          <ac:picMkLst>
            <pc:docMk/>
            <pc:sldMk cId="4091957854" sldId="256"/>
            <ac:picMk id="15" creationId="{5DB76DA0-20DE-4E59-8B20-5A239B7A99A7}"/>
          </ac:picMkLst>
        </pc:picChg>
        <pc:picChg chg="del mod">
          <ac:chgData name="Horn, Angelina" userId="17de84f0-3c4d-4bf9-80a7-5182f89cb293" providerId="ADAL" clId="{C69EC224-7693-4801-B2CE-45866694736E}" dt="2021-01-06T11:23:42.484" v="264" actId="478"/>
          <ac:picMkLst>
            <pc:docMk/>
            <pc:sldMk cId="4091957854" sldId="256"/>
            <ac:picMk id="17" creationId="{BD87C7A4-6345-4CBD-974F-E232861865E1}"/>
          </ac:picMkLst>
        </pc:picChg>
        <pc:picChg chg="del mod">
          <ac:chgData name="Horn, Angelina" userId="17de84f0-3c4d-4bf9-80a7-5182f89cb293" providerId="ADAL" clId="{C69EC224-7693-4801-B2CE-45866694736E}" dt="2021-01-06T11:12:12.006" v="248" actId="478"/>
          <ac:picMkLst>
            <pc:docMk/>
            <pc:sldMk cId="4091957854" sldId="256"/>
            <ac:picMk id="19" creationId="{269B7B38-DC78-4DE3-A942-07CB92ACCB7B}"/>
          </ac:picMkLst>
        </pc:picChg>
        <pc:picChg chg="add mod">
          <ac:chgData name="Horn, Angelina" userId="17de84f0-3c4d-4bf9-80a7-5182f89cb293" providerId="ADAL" clId="{C69EC224-7693-4801-B2CE-45866694736E}" dt="2021-01-06T20:42:42.949" v="514" actId="1076"/>
          <ac:picMkLst>
            <pc:docMk/>
            <pc:sldMk cId="4091957854" sldId="256"/>
            <ac:picMk id="20" creationId="{2F2D8A6C-C212-49C2-9C83-BDB83A2EC2D3}"/>
          </ac:picMkLst>
        </pc:picChg>
        <pc:picChg chg="mod">
          <ac:chgData name="Horn, Angelina" userId="17de84f0-3c4d-4bf9-80a7-5182f89cb293" providerId="ADAL" clId="{C69EC224-7693-4801-B2CE-45866694736E}" dt="2021-01-06T11:32:31.408" v="342" actId="1076"/>
          <ac:picMkLst>
            <pc:docMk/>
            <pc:sldMk cId="4091957854" sldId="256"/>
            <ac:picMk id="21" creationId="{43822395-2C17-419B-8878-9FF4857EDAEA}"/>
          </ac:picMkLst>
        </pc:picChg>
        <pc:picChg chg="mod">
          <ac:chgData name="Horn, Angelina" userId="17de84f0-3c4d-4bf9-80a7-5182f89cb293" providerId="ADAL" clId="{C69EC224-7693-4801-B2CE-45866694736E}" dt="2021-01-06T11:31:06.856" v="334" actId="1076"/>
          <ac:picMkLst>
            <pc:docMk/>
            <pc:sldMk cId="4091957854" sldId="256"/>
            <ac:picMk id="23" creationId="{DFBFA669-97A8-45BB-9887-0066F16F4EA0}"/>
          </ac:picMkLst>
        </pc:picChg>
        <pc:picChg chg="add del mod">
          <ac:chgData name="Horn, Angelina" userId="17de84f0-3c4d-4bf9-80a7-5182f89cb293" providerId="ADAL" clId="{C69EC224-7693-4801-B2CE-45866694736E}" dt="2021-01-06T20:36:37.433" v="387" actId="478"/>
          <ac:picMkLst>
            <pc:docMk/>
            <pc:sldMk cId="4091957854" sldId="256"/>
            <ac:picMk id="42" creationId="{F2FCC806-A4BF-4383-9879-AAB294DF4004}"/>
          </ac:picMkLst>
        </pc:picChg>
        <pc:picChg chg="add mod">
          <ac:chgData name="Horn, Angelina" userId="17de84f0-3c4d-4bf9-80a7-5182f89cb293" providerId="ADAL" clId="{C69EC224-7693-4801-B2CE-45866694736E}" dt="2021-01-06T20:42:39.524" v="513" actId="1076"/>
          <ac:picMkLst>
            <pc:docMk/>
            <pc:sldMk cId="4091957854" sldId="256"/>
            <ac:picMk id="67" creationId="{3DAEDDE1-468D-438F-8136-B9D2C3765F23}"/>
          </ac:picMkLst>
        </pc:picChg>
        <pc:picChg chg="mod">
          <ac:chgData name="Horn, Angelina" userId="17de84f0-3c4d-4bf9-80a7-5182f89cb293" providerId="ADAL" clId="{C69EC224-7693-4801-B2CE-45866694736E}" dt="2021-01-06T11:29:30.473" v="325" actId="14100"/>
          <ac:picMkLst>
            <pc:docMk/>
            <pc:sldMk cId="4091957854" sldId="256"/>
            <ac:picMk id="107" creationId="{12B0844C-87A4-43E9-9ED9-4EFC70D15FBD}"/>
          </ac:picMkLst>
        </pc:picChg>
        <pc:picChg chg="add del">
          <ac:chgData name="Horn, Angelina" userId="17de84f0-3c4d-4bf9-80a7-5182f89cb293" providerId="ADAL" clId="{C69EC224-7693-4801-B2CE-45866694736E}" dt="2021-01-06T11:12:09.180" v="246"/>
          <ac:picMkLst>
            <pc:docMk/>
            <pc:sldMk cId="4091957854" sldId="256"/>
            <ac:picMk id="223" creationId="{EB933880-312E-4307-9C24-F44DA19CD503}"/>
          </ac:picMkLst>
        </pc:picChg>
        <pc:picChg chg="add mod">
          <ac:chgData name="Horn, Angelina" userId="17de84f0-3c4d-4bf9-80a7-5182f89cb293" providerId="ADAL" clId="{C69EC224-7693-4801-B2CE-45866694736E}" dt="2021-01-06T11:17:31.796" v="259" actId="1076"/>
          <ac:picMkLst>
            <pc:docMk/>
            <pc:sldMk cId="4091957854" sldId="256"/>
            <ac:picMk id="224" creationId="{91E564DA-5983-4DE2-89E6-19105301D42F}"/>
          </ac:picMkLst>
        </pc:picChg>
        <pc:picChg chg="add del mod">
          <ac:chgData name="Horn, Angelina" userId="17de84f0-3c4d-4bf9-80a7-5182f89cb293" providerId="ADAL" clId="{C69EC224-7693-4801-B2CE-45866694736E}" dt="2021-01-06T20:34:00.115" v="350" actId="478"/>
          <ac:picMkLst>
            <pc:docMk/>
            <pc:sldMk cId="4091957854" sldId="256"/>
            <ac:picMk id="225" creationId="{C418D9B7-2B7D-401E-8668-209AD48F62AE}"/>
          </ac:picMkLst>
        </pc:picChg>
        <pc:picChg chg="add mod">
          <ac:chgData name="Horn, Angelina" userId="17de84f0-3c4d-4bf9-80a7-5182f89cb293" providerId="ADAL" clId="{C69EC224-7693-4801-B2CE-45866694736E}" dt="2021-01-06T11:24:18.519" v="272" actId="1076"/>
          <ac:picMkLst>
            <pc:docMk/>
            <pc:sldMk cId="4091957854" sldId="256"/>
            <ac:picMk id="232" creationId="{13486ACE-A404-4DDD-BA94-42481D816347}"/>
          </ac:picMkLst>
        </pc:picChg>
        <pc:cxnChg chg="add del mod">
          <ac:chgData name="Horn, Angelina" userId="17de84f0-3c4d-4bf9-80a7-5182f89cb293" providerId="ADAL" clId="{C69EC224-7693-4801-B2CE-45866694736E}" dt="2021-01-06T20:38:07.339" v="438" actId="478"/>
          <ac:cxnSpMkLst>
            <pc:docMk/>
            <pc:sldMk cId="4091957854" sldId="256"/>
            <ac:cxnSpMk id="10" creationId="{B1705E93-8F3D-4758-84DE-074E34D33420}"/>
          </ac:cxnSpMkLst>
        </pc:cxnChg>
        <pc:cxnChg chg="add del mod">
          <ac:chgData name="Horn, Angelina" userId="17de84f0-3c4d-4bf9-80a7-5182f89cb293" providerId="ADAL" clId="{C69EC224-7693-4801-B2CE-45866694736E}" dt="2021-01-06T20:38:06.548" v="437" actId="478"/>
          <ac:cxnSpMkLst>
            <pc:docMk/>
            <pc:sldMk cId="4091957854" sldId="256"/>
            <ac:cxnSpMk id="13" creationId="{FB5C222C-60DA-4D43-80E1-FF7C791FEB19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16" creationId="{828CF341-BC4B-49DB-9EDF-47749AD8540E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18" creationId="{600B41B5-A213-4F15-9EEE-F0324AE46BD6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24" creationId="{274A06D7-F0DF-49A7-9F80-2A375FC8EDB9}"/>
          </ac:cxnSpMkLst>
        </pc:cxnChg>
        <pc:cxnChg chg="del mod">
          <ac:chgData name="Horn, Angelina" userId="17de84f0-3c4d-4bf9-80a7-5182f89cb293" providerId="ADAL" clId="{C69EC224-7693-4801-B2CE-45866694736E}" dt="2021-01-06T10:43:12.928" v="43" actId="478"/>
          <ac:cxnSpMkLst>
            <pc:docMk/>
            <pc:sldMk cId="4091957854" sldId="256"/>
            <ac:cxnSpMk id="25" creationId="{1E6552DB-4099-4276-8175-7C1D9F7C2C7B}"/>
          </ac:cxnSpMkLst>
        </pc:cxnChg>
        <pc:cxnChg chg="add mod">
          <ac:chgData name="Horn, Angelina" userId="17de84f0-3c4d-4bf9-80a7-5182f89cb293" providerId="ADAL" clId="{C69EC224-7693-4801-B2CE-45866694736E}" dt="2021-01-06T20:46:45.516" v="554" actId="14100"/>
          <ac:cxnSpMkLst>
            <pc:docMk/>
            <pc:sldMk cId="4091957854" sldId="256"/>
            <ac:cxnSpMk id="26" creationId="{30F60652-A19C-459E-A007-D43A1F8A538E}"/>
          </ac:cxnSpMkLst>
        </pc:cxnChg>
        <pc:cxnChg chg="mod">
          <ac:chgData name="Horn, Angelina" userId="17de84f0-3c4d-4bf9-80a7-5182f89cb293" providerId="ADAL" clId="{C69EC224-7693-4801-B2CE-45866694736E}" dt="2021-01-06T11:32:31.408" v="342" actId="1076"/>
          <ac:cxnSpMkLst>
            <pc:docMk/>
            <pc:sldMk cId="4091957854" sldId="256"/>
            <ac:cxnSpMk id="27" creationId="{D0BF6CE5-EF20-4558-A7D3-520AB352FF99}"/>
          </ac:cxnSpMkLst>
        </pc:cxnChg>
        <pc:cxnChg chg="del mod">
          <ac:chgData name="Horn, Angelina" userId="17de84f0-3c4d-4bf9-80a7-5182f89cb293" providerId="ADAL" clId="{C69EC224-7693-4801-B2CE-45866694736E}" dt="2021-01-06T10:43:22.247" v="51" actId="478"/>
          <ac:cxnSpMkLst>
            <pc:docMk/>
            <pc:sldMk cId="4091957854" sldId="256"/>
            <ac:cxnSpMk id="29" creationId="{029406C2-54C2-4A07-B729-2B86C7C434D6}"/>
          </ac:cxnSpMkLst>
        </pc:cxnChg>
        <pc:cxnChg chg="add del mod">
          <ac:chgData name="Horn, Angelina" userId="17de84f0-3c4d-4bf9-80a7-5182f89cb293" providerId="ADAL" clId="{C69EC224-7693-4801-B2CE-45866694736E}" dt="2021-01-06T20:43:36.274" v="519" actId="478"/>
          <ac:cxnSpMkLst>
            <pc:docMk/>
            <pc:sldMk cId="4091957854" sldId="256"/>
            <ac:cxnSpMk id="35" creationId="{A60880B8-D116-4266-80AC-34572D7D40EC}"/>
          </ac:cxnSpMkLst>
        </pc:cxnChg>
        <pc:cxnChg chg="add del mod">
          <ac:chgData name="Horn, Angelina" userId="17de84f0-3c4d-4bf9-80a7-5182f89cb293" providerId="ADAL" clId="{C69EC224-7693-4801-B2CE-45866694736E}" dt="2021-01-06T20:42:24.200" v="511" actId="478"/>
          <ac:cxnSpMkLst>
            <pc:docMk/>
            <pc:sldMk cId="4091957854" sldId="256"/>
            <ac:cxnSpMk id="39" creationId="{E0AD9DC1-A490-49BE-9E21-AAF016CC5F6A}"/>
          </ac:cxnSpMkLst>
        </pc:cxnChg>
        <pc:cxnChg chg="del mod">
          <ac:chgData name="Horn, Angelina" userId="17de84f0-3c4d-4bf9-80a7-5182f89cb293" providerId="ADAL" clId="{C69EC224-7693-4801-B2CE-45866694736E}" dt="2021-01-06T10:43:13.867" v="44" actId="478"/>
          <ac:cxnSpMkLst>
            <pc:docMk/>
            <pc:sldMk cId="4091957854" sldId="256"/>
            <ac:cxnSpMk id="45" creationId="{816EE22E-C0C6-40FD-9B46-31D9E3EFE84F}"/>
          </ac:cxnSpMkLst>
        </pc:cxnChg>
        <pc:cxnChg chg="del mod">
          <ac:chgData name="Horn, Angelina" userId="17de84f0-3c4d-4bf9-80a7-5182f89cb293" providerId="ADAL" clId="{C69EC224-7693-4801-B2CE-45866694736E}" dt="2021-01-06T10:43:10.873" v="41" actId="478"/>
          <ac:cxnSpMkLst>
            <pc:docMk/>
            <pc:sldMk cId="4091957854" sldId="256"/>
            <ac:cxnSpMk id="54" creationId="{AD4359DC-9618-46C9-B867-630D9FCBD01B}"/>
          </ac:cxnSpMkLst>
        </pc:cxnChg>
        <pc:cxnChg chg="del mod">
          <ac:chgData name="Horn, Angelina" userId="17de84f0-3c4d-4bf9-80a7-5182f89cb293" providerId="ADAL" clId="{C69EC224-7693-4801-B2CE-45866694736E}" dt="2021-01-06T10:43:10.351" v="40" actId="478"/>
          <ac:cxnSpMkLst>
            <pc:docMk/>
            <pc:sldMk cId="4091957854" sldId="256"/>
            <ac:cxnSpMk id="58" creationId="{7B5F6CA2-BB3A-4E14-8605-86EEB2B66334}"/>
          </ac:cxnSpMkLst>
        </pc:cxnChg>
        <pc:cxnChg chg="add del mod">
          <ac:chgData name="Horn, Angelina" userId="17de84f0-3c4d-4bf9-80a7-5182f89cb293" providerId="ADAL" clId="{C69EC224-7693-4801-B2CE-45866694736E}" dt="2021-01-06T20:51:20.629" v="582" actId="478"/>
          <ac:cxnSpMkLst>
            <pc:docMk/>
            <pc:sldMk cId="4091957854" sldId="256"/>
            <ac:cxnSpMk id="58" creationId="{C975053D-4CC8-4FD8-A11A-14C6D0DD526F}"/>
          </ac:cxnSpMkLst>
        </pc:cxnChg>
        <pc:cxnChg chg="del mod">
          <ac:chgData name="Horn, Angelina" userId="17de84f0-3c4d-4bf9-80a7-5182f89cb293" providerId="ADAL" clId="{C69EC224-7693-4801-B2CE-45866694736E}" dt="2021-01-06T10:43:14.445" v="45" actId="478"/>
          <ac:cxnSpMkLst>
            <pc:docMk/>
            <pc:sldMk cId="4091957854" sldId="256"/>
            <ac:cxnSpMk id="61" creationId="{33E2D0F4-48D3-42FF-BBBD-ED681D72B9B5}"/>
          </ac:cxnSpMkLst>
        </pc:cxnChg>
        <pc:cxnChg chg="del">
          <ac:chgData name="Horn, Angelina" userId="17de84f0-3c4d-4bf9-80a7-5182f89cb293" providerId="ADAL" clId="{C69EC224-7693-4801-B2CE-45866694736E}" dt="2021-01-06T10:43:21.528" v="50" actId="478"/>
          <ac:cxnSpMkLst>
            <pc:docMk/>
            <pc:sldMk cId="4091957854" sldId="256"/>
            <ac:cxnSpMk id="63" creationId="{AA06B00D-5EAE-4903-A4B9-9226B17BF5CA}"/>
          </ac:cxnSpMkLst>
        </pc:cxnChg>
        <pc:cxnChg chg="del mod">
          <ac:chgData name="Horn, Angelina" userId="17de84f0-3c4d-4bf9-80a7-5182f89cb293" providerId="ADAL" clId="{C69EC224-7693-4801-B2CE-45866694736E}" dt="2021-01-06T10:43:20.405" v="48" actId="478"/>
          <ac:cxnSpMkLst>
            <pc:docMk/>
            <pc:sldMk cId="4091957854" sldId="256"/>
            <ac:cxnSpMk id="67" creationId="{DD25688B-8875-4B86-BF9D-88D11F872713}"/>
          </ac:cxnSpMkLst>
        </pc:cxnChg>
        <pc:cxnChg chg="add del mod">
          <ac:chgData name="Horn, Angelina" userId="17de84f0-3c4d-4bf9-80a7-5182f89cb293" providerId="ADAL" clId="{C69EC224-7693-4801-B2CE-45866694736E}" dt="2021-01-06T20:51:38.839" v="585" actId="478"/>
          <ac:cxnSpMkLst>
            <pc:docMk/>
            <pc:sldMk cId="4091957854" sldId="256"/>
            <ac:cxnSpMk id="69" creationId="{E9C03E4F-2D83-4E93-8181-A92EB1D698AC}"/>
          </ac:cxnSpMkLst>
        </pc:cxnChg>
        <pc:cxnChg chg="del mod">
          <ac:chgData name="Horn, Angelina" userId="17de84f0-3c4d-4bf9-80a7-5182f89cb293" providerId="ADAL" clId="{C69EC224-7693-4801-B2CE-45866694736E}" dt="2021-01-06T10:43:11.676" v="42" actId="478"/>
          <ac:cxnSpMkLst>
            <pc:docMk/>
            <pc:sldMk cId="4091957854" sldId="256"/>
            <ac:cxnSpMk id="72" creationId="{629AB22F-4A9E-4540-942F-C5BDB641BF96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76" creationId="{EA9F5B31-6293-483F-9DE5-1F624AA088EF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78" creationId="{74FE8A16-0798-4B7C-86C8-48BC8AE319E8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82" creationId="{6CC8D32B-CEA8-4E14-9BC2-1FD94865388C}"/>
          </ac:cxnSpMkLst>
        </pc:cxnChg>
        <pc:cxnChg chg="mod">
          <ac:chgData name="Horn, Angelina" userId="17de84f0-3c4d-4bf9-80a7-5182f89cb293" providerId="ADAL" clId="{C69EC224-7693-4801-B2CE-45866694736E}" dt="2021-01-06T11:33:46.474" v="346" actId="1076"/>
          <ac:cxnSpMkLst>
            <pc:docMk/>
            <pc:sldMk cId="4091957854" sldId="256"/>
            <ac:cxnSpMk id="110" creationId="{C631929E-3246-4019-ABD1-7CD14CE07F99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62" creationId="{729A00D5-466E-4DA4-A65A-D1672F46ADDB}"/>
          </ac:cxnSpMkLst>
        </pc:cxnChg>
        <pc:cxnChg chg="add mod">
          <ac:chgData name="Horn, Angelina" userId="17de84f0-3c4d-4bf9-80a7-5182f89cb293" providerId="ADAL" clId="{C69EC224-7693-4801-B2CE-45866694736E}" dt="2021-01-06T20:34:44.535" v="364" actId="1076"/>
          <ac:cxnSpMkLst>
            <pc:docMk/>
            <pc:sldMk cId="4091957854" sldId="256"/>
            <ac:cxnSpMk id="164" creationId="{E2067CC1-6CB6-43B7-8218-B17E9C2A43CF}"/>
          </ac:cxnSpMkLst>
        </pc:cxnChg>
        <pc:cxnChg chg="add mod">
          <ac:chgData name="Horn, Angelina" userId="17de84f0-3c4d-4bf9-80a7-5182f89cb293" providerId="ADAL" clId="{C69EC224-7693-4801-B2CE-45866694736E}" dt="2021-01-06T11:30:17.727" v="329" actId="1076"/>
          <ac:cxnSpMkLst>
            <pc:docMk/>
            <pc:sldMk cId="4091957854" sldId="256"/>
            <ac:cxnSpMk id="168" creationId="{F17DE304-4ADE-49C0-85CD-0F1DA4ABBC3D}"/>
          </ac:cxnSpMkLst>
        </pc:cxnChg>
        <pc:cxnChg chg="add mod">
          <ac:chgData name="Horn, Angelina" userId="17de84f0-3c4d-4bf9-80a7-5182f89cb293" providerId="ADAL" clId="{C69EC224-7693-4801-B2CE-45866694736E}" dt="2021-01-06T11:31:06.856" v="334" actId="1076"/>
          <ac:cxnSpMkLst>
            <pc:docMk/>
            <pc:sldMk cId="4091957854" sldId="256"/>
            <ac:cxnSpMk id="170" creationId="{F93D7E33-71D7-4B77-A049-BF08EE518A7F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72" creationId="{0998BB43-8665-4ECC-97A8-45E64A7C2BDE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74" creationId="{3A669294-5CCB-4623-B29B-DB2E642E6021}"/>
          </ac:cxnSpMkLst>
        </pc:cxnChg>
        <pc:cxnChg chg="add del mod">
          <ac:chgData name="Horn, Angelina" userId="17de84f0-3c4d-4bf9-80a7-5182f89cb293" providerId="ADAL" clId="{C69EC224-7693-4801-B2CE-45866694736E}" dt="2021-01-06T20:34:06.674" v="356" actId="478"/>
          <ac:cxnSpMkLst>
            <pc:docMk/>
            <pc:sldMk cId="4091957854" sldId="256"/>
            <ac:cxnSpMk id="176" creationId="{B0A6805B-74B3-472E-AC34-21BCEFB37AFA}"/>
          </ac:cxnSpMkLst>
        </pc:cxnChg>
        <pc:cxnChg chg="add del mod">
          <ac:chgData name="Horn, Angelina" userId="17de84f0-3c4d-4bf9-80a7-5182f89cb293" providerId="ADAL" clId="{C69EC224-7693-4801-B2CE-45866694736E}" dt="2021-01-06T20:34:01.192" v="351" actId="478"/>
          <ac:cxnSpMkLst>
            <pc:docMk/>
            <pc:sldMk cId="4091957854" sldId="256"/>
            <ac:cxnSpMk id="179" creationId="{555C4089-3E36-46CD-8C58-E94DA36657D8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E785B2-8695-42C5-A823-0E825A92CC80}" type="doc">
      <dgm:prSet loTypeId="urn:microsoft.com/office/officeart/2008/layout/HalfCircleOrganizationChart" loCatId="hierarchy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7427AFC4-6176-4825-95A4-596C078BF492}">
      <dgm:prSet phldrT="[Text]"/>
      <dgm:spPr/>
      <dgm:t>
        <a:bodyPr/>
        <a:lstStyle/>
        <a:p>
          <a:r>
            <a:rPr lang="de-DE" dirty="0"/>
            <a:t>Web</a:t>
          </a:r>
          <a:endParaRPr lang="en-GB" dirty="0"/>
        </a:p>
      </dgm:t>
    </dgm:pt>
    <dgm:pt modelId="{186AD14D-99B9-4A98-AB3E-FD8C59B83CCB}" type="parTrans" cxnId="{16D3A9E6-8E9E-4B9C-AC70-243285124B68}">
      <dgm:prSet/>
      <dgm:spPr/>
      <dgm:t>
        <a:bodyPr/>
        <a:lstStyle/>
        <a:p>
          <a:endParaRPr lang="en-GB"/>
        </a:p>
      </dgm:t>
    </dgm:pt>
    <dgm:pt modelId="{BCC92CC4-95CD-4C25-AC48-9BC9DAC08684}" type="sibTrans" cxnId="{16D3A9E6-8E9E-4B9C-AC70-243285124B68}">
      <dgm:prSet/>
      <dgm:spPr/>
      <dgm:t>
        <a:bodyPr/>
        <a:lstStyle/>
        <a:p>
          <a:endParaRPr lang="en-GB"/>
        </a:p>
      </dgm:t>
    </dgm:pt>
    <dgm:pt modelId="{667C86F3-E96F-4FB7-AB1B-4C3BF71DBBB6}">
      <dgm:prSet phldrT="[Text]"/>
      <dgm:spPr/>
      <dgm:t>
        <a:bodyPr/>
        <a:lstStyle/>
        <a:p>
          <a:r>
            <a:rPr lang="de-DE" dirty="0"/>
            <a:t>Catalogue</a:t>
          </a:r>
          <a:endParaRPr lang="en-GB" dirty="0"/>
        </a:p>
      </dgm:t>
    </dgm:pt>
    <dgm:pt modelId="{1004958B-605C-49AF-B426-3EC184C8B542}" type="parTrans" cxnId="{D7222034-E912-466A-9E06-14BBAABD6D81}">
      <dgm:prSet/>
      <dgm:spPr/>
      <dgm:t>
        <a:bodyPr/>
        <a:lstStyle/>
        <a:p>
          <a:endParaRPr lang="en-GB"/>
        </a:p>
      </dgm:t>
    </dgm:pt>
    <dgm:pt modelId="{230798DD-F022-4804-8F81-1B425B3D7DCA}" type="sibTrans" cxnId="{D7222034-E912-466A-9E06-14BBAABD6D81}">
      <dgm:prSet/>
      <dgm:spPr/>
      <dgm:t>
        <a:bodyPr/>
        <a:lstStyle/>
        <a:p>
          <a:endParaRPr lang="en-GB"/>
        </a:p>
      </dgm:t>
    </dgm:pt>
    <dgm:pt modelId="{B93E5D11-6F44-45E4-A358-D41DB05351BF}">
      <dgm:prSet phldrT="[Text]"/>
      <dgm:spPr/>
      <dgm:t>
        <a:bodyPr/>
        <a:lstStyle/>
        <a:p>
          <a:r>
            <a:rPr lang="de-DE" dirty="0"/>
            <a:t>User</a:t>
          </a:r>
          <a:endParaRPr lang="en-GB" dirty="0"/>
        </a:p>
      </dgm:t>
    </dgm:pt>
    <dgm:pt modelId="{044E8D51-9A8C-4260-B72F-A8C15CC20978}" type="parTrans" cxnId="{66FCD31D-7E61-4890-81CC-3F0B34C42827}">
      <dgm:prSet/>
      <dgm:spPr/>
      <dgm:t>
        <a:bodyPr/>
        <a:lstStyle/>
        <a:p>
          <a:endParaRPr lang="en-GB"/>
        </a:p>
      </dgm:t>
    </dgm:pt>
    <dgm:pt modelId="{E0888B23-0643-4746-857D-6AD55580193E}" type="sibTrans" cxnId="{66FCD31D-7E61-4890-81CC-3F0B34C42827}">
      <dgm:prSet/>
      <dgm:spPr/>
      <dgm:t>
        <a:bodyPr/>
        <a:lstStyle/>
        <a:p>
          <a:endParaRPr lang="en-GB"/>
        </a:p>
      </dgm:t>
    </dgm:pt>
    <dgm:pt modelId="{20073F56-1063-43E3-99CE-7E77063D0E8F}">
      <dgm:prSet phldrT="[Text]"/>
      <dgm:spPr/>
      <dgm:t>
        <a:bodyPr/>
        <a:lstStyle/>
        <a:p>
          <a:r>
            <a:rPr lang="de-DE" dirty="0"/>
            <a:t>Payment</a:t>
          </a:r>
          <a:endParaRPr lang="en-GB" dirty="0"/>
        </a:p>
      </dgm:t>
    </dgm:pt>
    <dgm:pt modelId="{88AA4DE4-D83D-4E5E-9268-15840D162CCB}" type="parTrans" cxnId="{66317CB2-1B40-4608-BD99-724D6C59B0A6}">
      <dgm:prSet/>
      <dgm:spPr/>
      <dgm:t>
        <a:bodyPr/>
        <a:lstStyle/>
        <a:p>
          <a:endParaRPr lang="en-GB"/>
        </a:p>
      </dgm:t>
    </dgm:pt>
    <dgm:pt modelId="{2D5FA891-F0F7-4E9C-884D-1CEBC8EA1926}" type="sibTrans" cxnId="{66317CB2-1B40-4608-BD99-724D6C59B0A6}">
      <dgm:prSet/>
      <dgm:spPr/>
      <dgm:t>
        <a:bodyPr/>
        <a:lstStyle/>
        <a:p>
          <a:endParaRPr lang="en-GB"/>
        </a:p>
      </dgm:t>
    </dgm:pt>
    <dgm:pt modelId="{AEAE2342-2D46-44D1-9BE4-1E4F7758D781}">
      <dgm:prSet phldrT="[Text]"/>
      <dgm:spPr/>
      <dgm:t>
        <a:bodyPr/>
        <a:lstStyle/>
        <a:p>
          <a:r>
            <a:rPr lang="de-DE" dirty="0" err="1"/>
            <a:t>Cart</a:t>
          </a:r>
          <a:endParaRPr lang="en-GB" dirty="0"/>
        </a:p>
      </dgm:t>
    </dgm:pt>
    <dgm:pt modelId="{A5C34028-7721-46C6-B1D8-6F3E6F363523}" type="parTrans" cxnId="{4F9EAB3D-45E0-4749-A135-F37BC1C2E67F}">
      <dgm:prSet/>
      <dgm:spPr/>
      <dgm:t>
        <a:bodyPr/>
        <a:lstStyle/>
        <a:p>
          <a:endParaRPr lang="en-GB"/>
        </a:p>
      </dgm:t>
    </dgm:pt>
    <dgm:pt modelId="{F5867EF2-3636-40E0-AF4B-FABEF73F87B4}" type="sibTrans" cxnId="{4F9EAB3D-45E0-4749-A135-F37BC1C2E67F}">
      <dgm:prSet/>
      <dgm:spPr/>
      <dgm:t>
        <a:bodyPr/>
        <a:lstStyle/>
        <a:p>
          <a:endParaRPr lang="en-GB"/>
        </a:p>
      </dgm:t>
    </dgm:pt>
    <dgm:pt modelId="{8C46398F-A6D6-402A-B40B-6EDEE72DEF5E}">
      <dgm:prSet phldrT="[Text]"/>
      <dgm:spPr/>
      <dgm:t>
        <a:bodyPr/>
        <a:lstStyle/>
        <a:p>
          <a:r>
            <a:rPr lang="de-DE" dirty="0"/>
            <a:t>Ratings</a:t>
          </a:r>
          <a:endParaRPr lang="en-GB" dirty="0"/>
        </a:p>
      </dgm:t>
    </dgm:pt>
    <dgm:pt modelId="{325B9C6F-BAB8-4119-8949-83A4E889B558}" type="parTrans" cxnId="{85FEEBD4-5E58-4A16-94BC-C0518D4F0772}">
      <dgm:prSet/>
      <dgm:spPr/>
      <dgm:t>
        <a:bodyPr/>
        <a:lstStyle/>
        <a:p>
          <a:endParaRPr lang="en-GB"/>
        </a:p>
      </dgm:t>
    </dgm:pt>
    <dgm:pt modelId="{7C95A888-0715-4B0E-9D52-DED6D9FEDFA0}" type="sibTrans" cxnId="{85FEEBD4-5E58-4A16-94BC-C0518D4F0772}">
      <dgm:prSet/>
      <dgm:spPr/>
      <dgm:t>
        <a:bodyPr/>
        <a:lstStyle/>
        <a:p>
          <a:endParaRPr lang="en-GB"/>
        </a:p>
      </dgm:t>
    </dgm:pt>
    <dgm:pt modelId="{0FF3073E-63CC-4DC1-BAA8-104D6F3A2832}">
      <dgm:prSet phldrT="[Text]"/>
      <dgm:spPr/>
      <dgm:t>
        <a:bodyPr/>
        <a:lstStyle/>
        <a:p>
          <a:r>
            <a:rPr lang="de-DE" dirty="0"/>
            <a:t>MongoDB</a:t>
          </a:r>
          <a:endParaRPr lang="en-GB" dirty="0"/>
        </a:p>
      </dgm:t>
    </dgm:pt>
    <dgm:pt modelId="{B8A4AF12-FE60-4F84-B47F-27165E168C6F}" type="parTrans" cxnId="{99EF7EBB-1668-4098-B79C-E8D9124E4DC5}">
      <dgm:prSet/>
      <dgm:spPr/>
      <dgm:t>
        <a:bodyPr/>
        <a:lstStyle/>
        <a:p>
          <a:endParaRPr lang="en-GB"/>
        </a:p>
      </dgm:t>
    </dgm:pt>
    <dgm:pt modelId="{436C4A09-46F7-4203-A6ED-0064FAD995B9}" type="sibTrans" cxnId="{99EF7EBB-1668-4098-B79C-E8D9124E4DC5}">
      <dgm:prSet/>
      <dgm:spPr/>
      <dgm:t>
        <a:bodyPr/>
        <a:lstStyle/>
        <a:p>
          <a:endParaRPr lang="en-GB"/>
        </a:p>
      </dgm:t>
    </dgm:pt>
    <dgm:pt modelId="{C8C6AC23-37AA-4E33-8F72-4BC631B78517}">
      <dgm:prSet phldrT="[Text]"/>
      <dgm:spPr/>
      <dgm:t>
        <a:bodyPr/>
        <a:lstStyle/>
        <a:p>
          <a:r>
            <a:rPr lang="de-DE" dirty="0"/>
            <a:t>Dispatch</a:t>
          </a:r>
          <a:endParaRPr lang="en-GB" dirty="0"/>
        </a:p>
      </dgm:t>
    </dgm:pt>
    <dgm:pt modelId="{E576E81C-E4AD-4C7E-8D5E-D4B1D9330AE0}" type="parTrans" cxnId="{6D095D32-0676-4909-8AE5-6F57AFE1E842}">
      <dgm:prSet/>
      <dgm:spPr/>
      <dgm:t>
        <a:bodyPr/>
        <a:lstStyle/>
        <a:p>
          <a:endParaRPr lang="en-GB"/>
        </a:p>
      </dgm:t>
    </dgm:pt>
    <dgm:pt modelId="{A9593850-B9A7-4887-A4DD-570F35C66461}" type="sibTrans" cxnId="{6D095D32-0676-4909-8AE5-6F57AFE1E842}">
      <dgm:prSet/>
      <dgm:spPr/>
      <dgm:t>
        <a:bodyPr/>
        <a:lstStyle/>
        <a:p>
          <a:endParaRPr lang="en-GB"/>
        </a:p>
      </dgm:t>
    </dgm:pt>
    <dgm:pt modelId="{9F46CAA2-273D-4380-9E2D-108789AEED5D}">
      <dgm:prSet phldrT="[Text]"/>
      <dgm:spPr/>
      <dgm:t>
        <a:bodyPr/>
        <a:lstStyle/>
        <a:p>
          <a:r>
            <a:rPr lang="de-DE" dirty="0" err="1"/>
            <a:t>RabbitMQ</a:t>
          </a:r>
          <a:endParaRPr lang="en-GB" dirty="0"/>
        </a:p>
      </dgm:t>
    </dgm:pt>
    <dgm:pt modelId="{DF250629-BF72-425D-8EAD-8C176411F411}" type="parTrans" cxnId="{5018C547-5CD6-47D8-BB5C-83BC233102D1}">
      <dgm:prSet/>
      <dgm:spPr/>
      <dgm:t>
        <a:bodyPr/>
        <a:lstStyle/>
        <a:p>
          <a:endParaRPr lang="en-GB"/>
        </a:p>
      </dgm:t>
    </dgm:pt>
    <dgm:pt modelId="{CB599831-D062-46F7-A618-5A4BBC5B1355}" type="sibTrans" cxnId="{5018C547-5CD6-47D8-BB5C-83BC233102D1}">
      <dgm:prSet/>
      <dgm:spPr/>
      <dgm:t>
        <a:bodyPr/>
        <a:lstStyle/>
        <a:p>
          <a:endParaRPr lang="en-GB"/>
        </a:p>
      </dgm:t>
    </dgm:pt>
    <dgm:pt modelId="{B12BE962-C327-4893-A4B5-858B2C537F03}">
      <dgm:prSet phldrT="[Text]"/>
      <dgm:spPr/>
      <dgm:t>
        <a:bodyPr/>
        <a:lstStyle/>
        <a:p>
          <a:r>
            <a:rPr lang="de-DE" dirty="0" err="1"/>
            <a:t>Redis</a:t>
          </a:r>
          <a:endParaRPr lang="en-GB" dirty="0"/>
        </a:p>
      </dgm:t>
    </dgm:pt>
    <dgm:pt modelId="{A47E056D-904A-4411-824A-E3F78F827CD2}" type="parTrans" cxnId="{6F91F385-86F4-4079-81F3-1DE105E4F9BF}">
      <dgm:prSet/>
      <dgm:spPr/>
      <dgm:t>
        <a:bodyPr/>
        <a:lstStyle/>
        <a:p>
          <a:endParaRPr lang="en-GB"/>
        </a:p>
      </dgm:t>
    </dgm:pt>
    <dgm:pt modelId="{AEAB8AA1-4F19-413B-9240-587D18781CB4}" type="sibTrans" cxnId="{6F91F385-86F4-4079-81F3-1DE105E4F9BF}">
      <dgm:prSet/>
      <dgm:spPr/>
      <dgm:t>
        <a:bodyPr/>
        <a:lstStyle/>
        <a:p>
          <a:endParaRPr lang="en-GB"/>
        </a:p>
      </dgm:t>
    </dgm:pt>
    <dgm:pt modelId="{36999EE3-C304-9649-BE16-49B350FA93E5}">
      <dgm:prSet phldrT="[Text]"/>
      <dgm:spPr/>
      <dgm:t>
        <a:bodyPr/>
        <a:lstStyle/>
        <a:p>
          <a:r>
            <a:rPr lang="en-GB" dirty="0"/>
            <a:t>Shipping</a:t>
          </a:r>
        </a:p>
      </dgm:t>
    </dgm:pt>
    <dgm:pt modelId="{71C1A6B7-CB6A-AE45-9810-63615C238EB9}" type="parTrans" cxnId="{41A273DC-40FC-7443-B9EE-BD633A0E9104}">
      <dgm:prSet/>
      <dgm:spPr/>
      <dgm:t>
        <a:bodyPr/>
        <a:lstStyle/>
        <a:p>
          <a:endParaRPr lang="de-DE"/>
        </a:p>
      </dgm:t>
    </dgm:pt>
    <dgm:pt modelId="{AF6BAFAE-F65B-D345-B5A1-FA8EB2A795DC}" type="sibTrans" cxnId="{41A273DC-40FC-7443-B9EE-BD633A0E9104}">
      <dgm:prSet/>
      <dgm:spPr/>
      <dgm:t>
        <a:bodyPr/>
        <a:lstStyle/>
        <a:p>
          <a:endParaRPr lang="de-DE"/>
        </a:p>
      </dgm:t>
    </dgm:pt>
    <dgm:pt modelId="{54817C10-E2EA-7E47-8521-EF648192904F}">
      <dgm:prSet phldrT="[Text]"/>
      <dgm:spPr/>
      <dgm:t>
        <a:bodyPr/>
        <a:lstStyle/>
        <a:p>
          <a:r>
            <a:rPr lang="en-GB" dirty="0"/>
            <a:t>MySQL</a:t>
          </a:r>
        </a:p>
      </dgm:t>
    </dgm:pt>
    <dgm:pt modelId="{3F3CD071-F174-0842-8A72-05A7717A62EF}" type="parTrans" cxnId="{352A5D98-26F8-0748-ABEA-421CD9667DDF}">
      <dgm:prSet/>
      <dgm:spPr/>
      <dgm:t>
        <a:bodyPr/>
        <a:lstStyle/>
        <a:p>
          <a:endParaRPr lang="de-DE"/>
        </a:p>
      </dgm:t>
    </dgm:pt>
    <dgm:pt modelId="{A8F83C51-79DA-874B-91DE-3E2F377CCB13}" type="sibTrans" cxnId="{352A5D98-26F8-0748-ABEA-421CD9667DDF}">
      <dgm:prSet/>
      <dgm:spPr/>
      <dgm:t>
        <a:bodyPr/>
        <a:lstStyle/>
        <a:p>
          <a:endParaRPr lang="de-DE"/>
        </a:p>
      </dgm:t>
    </dgm:pt>
    <dgm:pt modelId="{3223B2F3-E48B-445D-AD8A-7DF0CB6D7EF1}" type="pres">
      <dgm:prSet presAssocID="{AEE785B2-8695-42C5-A823-0E825A92CC80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4A1F987C-3ED3-472E-9123-5E1E5F6EB39A}" type="pres">
      <dgm:prSet presAssocID="{7427AFC4-6176-4825-95A4-596C078BF492}" presName="hierRoot1" presStyleCnt="0">
        <dgm:presLayoutVars>
          <dgm:hierBranch val="init"/>
        </dgm:presLayoutVars>
      </dgm:prSet>
      <dgm:spPr/>
    </dgm:pt>
    <dgm:pt modelId="{9C9C1077-9E32-4C27-BCD4-8A6BC1191B5D}" type="pres">
      <dgm:prSet presAssocID="{7427AFC4-6176-4825-95A4-596C078BF492}" presName="rootComposite1" presStyleCnt="0"/>
      <dgm:spPr/>
    </dgm:pt>
    <dgm:pt modelId="{0281157D-4611-42E9-BD04-E3431F98ECEB}" type="pres">
      <dgm:prSet presAssocID="{7427AFC4-6176-4825-95A4-596C078BF492}" presName="rootText1" presStyleLbl="alignAcc1" presStyleIdx="0" presStyleCnt="0">
        <dgm:presLayoutVars>
          <dgm:chPref val="3"/>
        </dgm:presLayoutVars>
      </dgm:prSet>
      <dgm:spPr/>
    </dgm:pt>
    <dgm:pt modelId="{A2FE98E3-D9CD-435F-A041-968066283D01}" type="pres">
      <dgm:prSet presAssocID="{7427AFC4-6176-4825-95A4-596C078BF492}" presName="topArc1" presStyleLbl="parChTrans1D1" presStyleIdx="0" presStyleCnt="24"/>
      <dgm:spPr/>
    </dgm:pt>
    <dgm:pt modelId="{FFE8766F-20C0-4E87-8749-738564E04CB7}" type="pres">
      <dgm:prSet presAssocID="{7427AFC4-6176-4825-95A4-596C078BF492}" presName="bottomArc1" presStyleLbl="parChTrans1D1" presStyleIdx="1" presStyleCnt="24"/>
      <dgm:spPr/>
    </dgm:pt>
    <dgm:pt modelId="{28C452B7-0647-4DC9-A1B1-A8D327DB26EC}" type="pres">
      <dgm:prSet presAssocID="{7427AFC4-6176-4825-95A4-596C078BF492}" presName="topConnNode1" presStyleLbl="node1" presStyleIdx="0" presStyleCnt="0"/>
      <dgm:spPr/>
    </dgm:pt>
    <dgm:pt modelId="{94EB2440-3008-4C11-879D-82B11EAE75FD}" type="pres">
      <dgm:prSet presAssocID="{7427AFC4-6176-4825-95A4-596C078BF492}" presName="hierChild2" presStyleCnt="0"/>
      <dgm:spPr/>
    </dgm:pt>
    <dgm:pt modelId="{73EF868A-836F-4D40-A183-6515D1E2DD65}" type="pres">
      <dgm:prSet presAssocID="{325B9C6F-BAB8-4119-8949-83A4E889B558}" presName="Name28" presStyleLbl="parChTrans1D2" presStyleIdx="0" presStyleCnt="6"/>
      <dgm:spPr/>
    </dgm:pt>
    <dgm:pt modelId="{44C2ED59-D473-43F0-9154-871D21773351}" type="pres">
      <dgm:prSet presAssocID="{8C46398F-A6D6-402A-B40B-6EDEE72DEF5E}" presName="hierRoot2" presStyleCnt="0">
        <dgm:presLayoutVars>
          <dgm:hierBranch val="init"/>
        </dgm:presLayoutVars>
      </dgm:prSet>
      <dgm:spPr/>
    </dgm:pt>
    <dgm:pt modelId="{D4C5EFCF-8B70-4902-80D2-597BED5B94EA}" type="pres">
      <dgm:prSet presAssocID="{8C46398F-A6D6-402A-B40B-6EDEE72DEF5E}" presName="rootComposite2" presStyleCnt="0"/>
      <dgm:spPr/>
    </dgm:pt>
    <dgm:pt modelId="{9CDB9E12-7298-4554-AC15-2FEFA28F99B9}" type="pres">
      <dgm:prSet presAssocID="{8C46398F-A6D6-402A-B40B-6EDEE72DEF5E}" presName="rootText2" presStyleLbl="alignAcc1" presStyleIdx="0" presStyleCnt="0">
        <dgm:presLayoutVars>
          <dgm:chPref val="3"/>
        </dgm:presLayoutVars>
      </dgm:prSet>
      <dgm:spPr/>
    </dgm:pt>
    <dgm:pt modelId="{2B4592C0-9788-4A50-B517-6A54EA34E84A}" type="pres">
      <dgm:prSet presAssocID="{8C46398F-A6D6-402A-B40B-6EDEE72DEF5E}" presName="topArc2" presStyleLbl="parChTrans1D1" presStyleIdx="2" presStyleCnt="24"/>
      <dgm:spPr/>
    </dgm:pt>
    <dgm:pt modelId="{ADDDCA98-ED92-46A8-9B8C-45F32A339262}" type="pres">
      <dgm:prSet presAssocID="{8C46398F-A6D6-402A-B40B-6EDEE72DEF5E}" presName="bottomArc2" presStyleLbl="parChTrans1D1" presStyleIdx="3" presStyleCnt="24"/>
      <dgm:spPr/>
    </dgm:pt>
    <dgm:pt modelId="{5AF0F2E6-9EA1-47EA-8D79-AF7908D8CD15}" type="pres">
      <dgm:prSet presAssocID="{8C46398F-A6D6-402A-B40B-6EDEE72DEF5E}" presName="topConnNode2" presStyleLbl="node2" presStyleIdx="0" presStyleCnt="0"/>
      <dgm:spPr/>
    </dgm:pt>
    <dgm:pt modelId="{33218253-BADD-4C6B-8B05-36FE95C66BB0}" type="pres">
      <dgm:prSet presAssocID="{8C46398F-A6D6-402A-B40B-6EDEE72DEF5E}" presName="hierChild4" presStyleCnt="0"/>
      <dgm:spPr/>
    </dgm:pt>
    <dgm:pt modelId="{EB5266ED-4D93-A34D-9997-35453731ED44}" type="pres">
      <dgm:prSet presAssocID="{3F3CD071-F174-0842-8A72-05A7717A62EF}" presName="Name28" presStyleLbl="parChTrans1D3" presStyleIdx="0" presStyleCnt="5"/>
      <dgm:spPr/>
    </dgm:pt>
    <dgm:pt modelId="{52862C75-7A01-4A4A-8FC1-92FE13D45E17}" type="pres">
      <dgm:prSet presAssocID="{54817C10-E2EA-7E47-8521-EF648192904F}" presName="hierRoot2" presStyleCnt="0">
        <dgm:presLayoutVars>
          <dgm:hierBranch val="init"/>
        </dgm:presLayoutVars>
      </dgm:prSet>
      <dgm:spPr/>
    </dgm:pt>
    <dgm:pt modelId="{657201EA-FC41-4242-BBCB-E346D7A37C9A}" type="pres">
      <dgm:prSet presAssocID="{54817C10-E2EA-7E47-8521-EF648192904F}" presName="rootComposite2" presStyleCnt="0"/>
      <dgm:spPr/>
    </dgm:pt>
    <dgm:pt modelId="{20D47ABF-1A8E-8043-92C5-9CF6DA28FF95}" type="pres">
      <dgm:prSet presAssocID="{54817C10-E2EA-7E47-8521-EF648192904F}" presName="rootText2" presStyleLbl="alignAcc1" presStyleIdx="0" presStyleCnt="0">
        <dgm:presLayoutVars>
          <dgm:chPref val="3"/>
        </dgm:presLayoutVars>
      </dgm:prSet>
      <dgm:spPr/>
    </dgm:pt>
    <dgm:pt modelId="{9104AEAE-0B12-8245-934A-C619B754FEDC}" type="pres">
      <dgm:prSet presAssocID="{54817C10-E2EA-7E47-8521-EF648192904F}" presName="topArc2" presStyleLbl="parChTrans1D1" presStyleIdx="4" presStyleCnt="24"/>
      <dgm:spPr/>
    </dgm:pt>
    <dgm:pt modelId="{7369CFF2-D046-194F-93F1-232D01B120CF}" type="pres">
      <dgm:prSet presAssocID="{54817C10-E2EA-7E47-8521-EF648192904F}" presName="bottomArc2" presStyleLbl="parChTrans1D1" presStyleIdx="5" presStyleCnt="24"/>
      <dgm:spPr/>
    </dgm:pt>
    <dgm:pt modelId="{1E99C966-A707-E847-94A2-CC6090202F04}" type="pres">
      <dgm:prSet presAssocID="{54817C10-E2EA-7E47-8521-EF648192904F}" presName="topConnNode2" presStyleLbl="node3" presStyleIdx="0" presStyleCnt="0"/>
      <dgm:spPr/>
    </dgm:pt>
    <dgm:pt modelId="{3BD15EF5-3B4E-CD40-869B-BFF85F9AE810}" type="pres">
      <dgm:prSet presAssocID="{54817C10-E2EA-7E47-8521-EF648192904F}" presName="hierChild4" presStyleCnt="0"/>
      <dgm:spPr/>
    </dgm:pt>
    <dgm:pt modelId="{7EEDBE1F-E618-5542-BBC6-0257BD15398C}" type="pres">
      <dgm:prSet presAssocID="{54817C10-E2EA-7E47-8521-EF648192904F}" presName="hierChild5" presStyleCnt="0"/>
      <dgm:spPr/>
    </dgm:pt>
    <dgm:pt modelId="{85E1D0DC-7A70-43C0-91FF-D112CBE50A71}" type="pres">
      <dgm:prSet presAssocID="{8C46398F-A6D6-402A-B40B-6EDEE72DEF5E}" presName="hierChild5" presStyleCnt="0"/>
      <dgm:spPr/>
    </dgm:pt>
    <dgm:pt modelId="{B90324A2-9B53-814B-AFCB-C9A752F5254B}" type="pres">
      <dgm:prSet presAssocID="{71C1A6B7-CB6A-AE45-9810-63615C238EB9}" presName="Name28" presStyleLbl="parChTrans1D2" presStyleIdx="1" presStyleCnt="6"/>
      <dgm:spPr/>
    </dgm:pt>
    <dgm:pt modelId="{F5A39AF5-A3AD-4744-91ED-8630E1E734BD}" type="pres">
      <dgm:prSet presAssocID="{36999EE3-C304-9649-BE16-49B350FA93E5}" presName="hierRoot2" presStyleCnt="0">
        <dgm:presLayoutVars>
          <dgm:hierBranch val="init"/>
        </dgm:presLayoutVars>
      </dgm:prSet>
      <dgm:spPr/>
    </dgm:pt>
    <dgm:pt modelId="{27CAE35A-2518-1349-96E2-BB3029C455FD}" type="pres">
      <dgm:prSet presAssocID="{36999EE3-C304-9649-BE16-49B350FA93E5}" presName="rootComposite2" presStyleCnt="0"/>
      <dgm:spPr/>
    </dgm:pt>
    <dgm:pt modelId="{3FC7EC81-962F-5A47-BD05-EED64D9CAC85}" type="pres">
      <dgm:prSet presAssocID="{36999EE3-C304-9649-BE16-49B350FA93E5}" presName="rootText2" presStyleLbl="alignAcc1" presStyleIdx="0" presStyleCnt="0">
        <dgm:presLayoutVars>
          <dgm:chPref val="3"/>
        </dgm:presLayoutVars>
      </dgm:prSet>
      <dgm:spPr/>
    </dgm:pt>
    <dgm:pt modelId="{FE846FB7-FF5D-8F44-9B7B-6D260193238E}" type="pres">
      <dgm:prSet presAssocID="{36999EE3-C304-9649-BE16-49B350FA93E5}" presName="topArc2" presStyleLbl="parChTrans1D1" presStyleIdx="6" presStyleCnt="24"/>
      <dgm:spPr/>
    </dgm:pt>
    <dgm:pt modelId="{E3CD95FC-D3AD-024E-BF65-3AAB6734F5E2}" type="pres">
      <dgm:prSet presAssocID="{36999EE3-C304-9649-BE16-49B350FA93E5}" presName="bottomArc2" presStyleLbl="parChTrans1D1" presStyleIdx="7" presStyleCnt="24"/>
      <dgm:spPr/>
    </dgm:pt>
    <dgm:pt modelId="{DE1E4C85-9072-3D42-9ACA-0FCC1075CA08}" type="pres">
      <dgm:prSet presAssocID="{36999EE3-C304-9649-BE16-49B350FA93E5}" presName="topConnNode2" presStyleLbl="node2" presStyleIdx="0" presStyleCnt="0"/>
      <dgm:spPr/>
    </dgm:pt>
    <dgm:pt modelId="{283DE096-1534-9E49-974F-23BF7115AEDD}" type="pres">
      <dgm:prSet presAssocID="{36999EE3-C304-9649-BE16-49B350FA93E5}" presName="hierChild4" presStyleCnt="0"/>
      <dgm:spPr/>
    </dgm:pt>
    <dgm:pt modelId="{EE455BE9-205E-8341-9632-9157A9CBD5D3}" type="pres">
      <dgm:prSet presAssocID="{36999EE3-C304-9649-BE16-49B350FA93E5}" presName="hierChild5" presStyleCnt="0"/>
      <dgm:spPr/>
    </dgm:pt>
    <dgm:pt modelId="{B0DC3A2B-F898-4912-B569-A266F0F37EFE}" type="pres">
      <dgm:prSet presAssocID="{1004958B-605C-49AF-B426-3EC184C8B542}" presName="Name28" presStyleLbl="parChTrans1D2" presStyleIdx="2" presStyleCnt="6"/>
      <dgm:spPr/>
    </dgm:pt>
    <dgm:pt modelId="{59356FBC-E556-4589-B651-23CD087985FF}" type="pres">
      <dgm:prSet presAssocID="{667C86F3-E96F-4FB7-AB1B-4C3BF71DBBB6}" presName="hierRoot2" presStyleCnt="0">
        <dgm:presLayoutVars>
          <dgm:hierBranch val="init"/>
        </dgm:presLayoutVars>
      </dgm:prSet>
      <dgm:spPr/>
    </dgm:pt>
    <dgm:pt modelId="{544E7B0C-C4B9-41EC-91F6-1CF220AFC547}" type="pres">
      <dgm:prSet presAssocID="{667C86F3-E96F-4FB7-AB1B-4C3BF71DBBB6}" presName="rootComposite2" presStyleCnt="0"/>
      <dgm:spPr/>
    </dgm:pt>
    <dgm:pt modelId="{0D01280A-F87A-47FC-A4CA-41A207539AD2}" type="pres">
      <dgm:prSet presAssocID="{667C86F3-E96F-4FB7-AB1B-4C3BF71DBBB6}" presName="rootText2" presStyleLbl="alignAcc1" presStyleIdx="0" presStyleCnt="0">
        <dgm:presLayoutVars>
          <dgm:chPref val="3"/>
        </dgm:presLayoutVars>
      </dgm:prSet>
      <dgm:spPr/>
    </dgm:pt>
    <dgm:pt modelId="{320D484A-62CF-4014-9136-57B263F224F0}" type="pres">
      <dgm:prSet presAssocID="{667C86F3-E96F-4FB7-AB1B-4C3BF71DBBB6}" presName="topArc2" presStyleLbl="parChTrans1D1" presStyleIdx="8" presStyleCnt="24"/>
      <dgm:spPr/>
    </dgm:pt>
    <dgm:pt modelId="{B91E759D-DC3B-4B07-8063-9E2C0632F98A}" type="pres">
      <dgm:prSet presAssocID="{667C86F3-E96F-4FB7-AB1B-4C3BF71DBBB6}" presName="bottomArc2" presStyleLbl="parChTrans1D1" presStyleIdx="9" presStyleCnt="24"/>
      <dgm:spPr/>
    </dgm:pt>
    <dgm:pt modelId="{EDE21742-5C05-4C26-8664-336B958DF8E1}" type="pres">
      <dgm:prSet presAssocID="{667C86F3-E96F-4FB7-AB1B-4C3BF71DBBB6}" presName="topConnNode2" presStyleLbl="node2" presStyleIdx="0" presStyleCnt="0"/>
      <dgm:spPr/>
    </dgm:pt>
    <dgm:pt modelId="{D9BF021D-0250-459E-9136-579798727864}" type="pres">
      <dgm:prSet presAssocID="{667C86F3-E96F-4FB7-AB1B-4C3BF71DBBB6}" presName="hierChild4" presStyleCnt="0"/>
      <dgm:spPr/>
    </dgm:pt>
    <dgm:pt modelId="{178EADEB-CF60-4B19-A8BB-3E7D63D248A7}" type="pres">
      <dgm:prSet presAssocID="{B8A4AF12-FE60-4F84-B47F-27165E168C6F}" presName="Name28" presStyleLbl="parChTrans1D3" presStyleIdx="1" presStyleCnt="5"/>
      <dgm:spPr/>
    </dgm:pt>
    <dgm:pt modelId="{B3E4CBF1-7DC3-4290-8C88-B4F06CC5D994}" type="pres">
      <dgm:prSet presAssocID="{0FF3073E-63CC-4DC1-BAA8-104D6F3A2832}" presName="hierRoot2" presStyleCnt="0">
        <dgm:presLayoutVars>
          <dgm:hierBranch val="init"/>
        </dgm:presLayoutVars>
      </dgm:prSet>
      <dgm:spPr/>
    </dgm:pt>
    <dgm:pt modelId="{628509B1-7EB5-4497-B401-1C591615C98F}" type="pres">
      <dgm:prSet presAssocID="{0FF3073E-63CC-4DC1-BAA8-104D6F3A2832}" presName="rootComposite2" presStyleCnt="0"/>
      <dgm:spPr/>
    </dgm:pt>
    <dgm:pt modelId="{6A7A9502-537C-4114-9BFC-9A2EBD525A6D}" type="pres">
      <dgm:prSet presAssocID="{0FF3073E-63CC-4DC1-BAA8-104D6F3A2832}" presName="rootText2" presStyleLbl="alignAcc1" presStyleIdx="0" presStyleCnt="0">
        <dgm:presLayoutVars>
          <dgm:chPref val="3"/>
        </dgm:presLayoutVars>
      </dgm:prSet>
      <dgm:spPr/>
    </dgm:pt>
    <dgm:pt modelId="{CF1D7A04-7A12-4286-8443-785F5592614C}" type="pres">
      <dgm:prSet presAssocID="{0FF3073E-63CC-4DC1-BAA8-104D6F3A2832}" presName="topArc2" presStyleLbl="parChTrans1D1" presStyleIdx="10" presStyleCnt="24"/>
      <dgm:spPr/>
    </dgm:pt>
    <dgm:pt modelId="{82328BB3-FFEB-4306-80EB-2F6F645D9AF3}" type="pres">
      <dgm:prSet presAssocID="{0FF3073E-63CC-4DC1-BAA8-104D6F3A2832}" presName="bottomArc2" presStyleLbl="parChTrans1D1" presStyleIdx="11" presStyleCnt="24"/>
      <dgm:spPr/>
    </dgm:pt>
    <dgm:pt modelId="{860CB8AD-8C92-4DAA-82E6-B3DD0BC3A54C}" type="pres">
      <dgm:prSet presAssocID="{0FF3073E-63CC-4DC1-BAA8-104D6F3A2832}" presName="topConnNode2" presStyleLbl="node3" presStyleIdx="0" presStyleCnt="0"/>
      <dgm:spPr/>
    </dgm:pt>
    <dgm:pt modelId="{FEBCBF5E-0F84-4AFA-B6FD-747238D9A214}" type="pres">
      <dgm:prSet presAssocID="{0FF3073E-63CC-4DC1-BAA8-104D6F3A2832}" presName="hierChild4" presStyleCnt="0"/>
      <dgm:spPr/>
    </dgm:pt>
    <dgm:pt modelId="{00D46484-6099-4712-92D8-7FA79B2A14D9}" type="pres">
      <dgm:prSet presAssocID="{0FF3073E-63CC-4DC1-BAA8-104D6F3A2832}" presName="hierChild5" presStyleCnt="0"/>
      <dgm:spPr/>
    </dgm:pt>
    <dgm:pt modelId="{D8AE84E9-F6C0-4EA2-81B2-B670BE89FE19}" type="pres">
      <dgm:prSet presAssocID="{667C86F3-E96F-4FB7-AB1B-4C3BF71DBBB6}" presName="hierChild5" presStyleCnt="0"/>
      <dgm:spPr/>
    </dgm:pt>
    <dgm:pt modelId="{0B0344E9-26EB-4890-A574-DFFFAC9B663E}" type="pres">
      <dgm:prSet presAssocID="{044E8D51-9A8C-4260-B72F-A8C15CC20978}" presName="Name28" presStyleLbl="parChTrans1D2" presStyleIdx="3" presStyleCnt="6"/>
      <dgm:spPr/>
    </dgm:pt>
    <dgm:pt modelId="{42AEAAF9-53EC-4050-8B34-93F7DF5A7FB7}" type="pres">
      <dgm:prSet presAssocID="{B93E5D11-6F44-45E4-A358-D41DB05351BF}" presName="hierRoot2" presStyleCnt="0">
        <dgm:presLayoutVars>
          <dgm:hierBranch val="init"/>
        </dgm:presLayoutVars>
      </dgm:prSet>
      <dgm:spPr/>
    </dgm:pt>
    <dgm:pt modelId="{D6EAD186-9204-411C-922D-86E0B0B3F644}" type="pres">
      <dgm:prSet presAssocID="{B93E5D11-6F44-45E4-A358-D41DB05351BF}" presName="rootComposite2" presStyleCnt="0"/>
      <dgm:spPr/>
    </dgm:pt>
    <dgm:pt modelId="{5E08827F-A34F-403B-A99B-3BE3111735A2}" type="pres">
      <dgm:prSet presAssocID="{B93E5D11-6F44-45E4-A358-D41DB05351BF}" presName="rootText2" presStyleLbl="alignAcc1" presStyleIdx="0" presStyleCnt="0">
        <dgm:presLayoutVars>
          <dgm:chPref val="3"/>
        </dgm:presLayoutVars>
      </dgm:prSet>
      <dgm:spPr/>
    </dgm:pt>
    <dgm:pt modelId="{317BA183-806E-485C-90E2-AB0D9179D46C}" type="pres">
      <dgm:prSet presAssocID="{B93E5D11-6F44-45E4-A358-D41DB05351BF}" presName="topArc2" presStyleLbl="parChTrans1D1" presStyleIdx="12" presStyleCnt="24"/>
      <dgm:spPr/>
    </dgm:pt>
    <dgm:pt modelId="{27D6C95B-2966-4EB3-90EC-50CD4B6AC45D}" type="pres">
      <dgm:prSet presAssocID="{B93E5D11-6F44-45E4-A358-D41DB05351BF}" presName="bottomArc2" presStyleLbl="parChTrans1D1" presStyleIdx="13" presStyleCnt="24"/>
      <dgm:spPr/>
    </dgm:pt>
    <dgm:pt modelId="{66F3C54F-CC96-4108-9160-F4A72E0BD31C}" type="pres">
      <dgm:prSet presAssocID="{B93E5D11-6F44-45E4-A358-D41DB05351BF}" presName="topConnNode2" presStyleLbl="node2" presStyleIdx="0" presStyleCnt="0"/>
      <dgm:spPr/>
    </dgm:pt>
    <dgm:pt modelId="{01BF87D0-52D5-4D88-8FE1-A186B76BB411}" type="pres">
      <dgm:prSet presAssocID="{B93E5D11-6F44-45E4-A358-D41DB05351BF}" presName="hierChild4" presStyleCnt="0"/>
      <dgm:spPr/>
    </dgm:pt>
    <dgm:pt modelId="{18150C95-CF8D-4292-9AB8-A809EED323C3}" type="pres">
      <dgm:prSet presAssocID="{B93E5D11-6F44-45E4-A358-D41DB05351BF}" presName="hierChild5" presStyleCnt="0"/>
      <dgm:spPr/>
    </dgm:pt>
    <dgm:pt modelId="{AD161FC4-339A-427E-8BD1-0A6B823749AD}" type="pres">
      <dgm:prSet presAssocID="{88AA4DE4-D83D-4E5E-9268-15840D162CCB}" presName="Name28" presStyleLbl="parChTrans1D2" presStyleIdx="4" presStyleCnt="6"/>
      <dgm:spPr/>
    </dgm:pt>
    <dgm:pt modelId="{8465B0C8-67E9-47B1-808D-B6424740621F}" type="pres">
      <dgm:prSet presAssocID="{20073F56-1063-43E3-99CE-7E77063D0E8F}" presName="hierRoot2" presStyleCnt="0">
        <dgm:presLayoutVars>
          <dgm:hierBranch val="init"/>
        </dgm:presLayoutVars>
      </dgm:prSet>
      <dgm:spPr/>
    </dgm:pt>
    <dgm:pt modelId="{D84DEE62-738D-41F0-B7BA-9734F3E7E499}" type="pres">
      <dgm:prSet presAssocID="{20073F56-1063-43E3-99CE-7E77063D0E8F}" presName="rootComposite2" presStyleCnt="0"/>
      <dgm:spPr/>
    </dgm:pt>
    <dgm:pt modelId="{4D2B5425-2A77-43E8-8216-95A23F04E285}" type="pres">
      <dgm:prSet presAssocID="{20073F56-1063-43E3-99CE-7E77063D0E8F}" presName="rootText2" presStyleLbl="alignAcc1" presStyleIdx="0" presStyleCnt="0">
        <dgm:presLayoutVars>
          <dgm:chPref val="3"/>
        </dgm:presLayoutVars>
      </dgm:prSet>
      <dgm:spPr/>
    </dgm:pt>
    <dgm:pt modelId="{5C7DDCF2-B04D-422D-853F-B066755B9BFE}" type="pres">
      <dgm:prSet presAssocID="{20073F56-1063-43E3-99CE-7E77063D0E8F}" presName="topArc2" presStyleLbl="parChTrans1D1" presStyleIdx="14" presStyleCnt="24"/>
      <dgm:spPr/>
    </dgm:pt>
    <dgm:pt modelId="{9A87F75B-15D7-400C-A741-143787AC4C90}" type="pres">
      <dgm:prSet presAssocID="{20073F56-1063-43E3-99CE-7E77063D0E8F}" presName="bottomArc2" presStyleLbl="parChTrans1D1" presStyleIdx="15" presStyleCnt="24"/>
      <dgm:spPr/>
    </dgm:pt>
    <dgm:pt modelId="{99854BC1-B858-4EA4-B488-CC5E438F3E8C}" type="pres">
      <dgm:prSet presAssocID="{20073F56-1063-43E3-99CE-7E77063D0E8F}" presName="topConnNode2" presStyleLbl="node2" presStyleIdx="0" presStyleCnt="0"/>
      <dgm:spPr/>
    </dgm:pt>
    <dgm:pt modelId="{37572086-402E-42D4-AAEB-6A24BE7C6407}" type="pres">
      <dgm:prSet presAssocID="{20073F56-1063-43E3-99CE-7E77063D0E8F}" presName="hierChild4" presStyleCnt="0"/>
      <dgm:spPr/>
    </dgm:pt>
    <dgm:pt modelId="{BDF3AB7C-F9F0-4669-8838-9608EA781EE8}" type="pres">
      <dgm:prSet presAssocID="{E576E81C-E4AD-4C7E-8D5E-D4B1D9330AE0}" presName="Name28" presStyleLbl="parChTrans1D3" presStyleIdx="2" presStyleCnt="5"/>
      <dgm:spPr/>
    </dgm:pt>
    <dgm:pt modelId="{D546BCDA-D158-4CAE-B3C8-DDBDEB605C5A}" type="pres">
      <dgm:prSet presAssocID="{C8C6AC23-37AA-4E33-8F72-4BC631B78517}" presName="hierRoot2" presStyleCnt="0">
        <dgm:presLayoutVars>
          <dgm:hierBranch val="init"/>
        </dgm:presLayoutVars>
      </dgm:prSet>
      <dgm:spPr/>
    </dgm:pt>
    <dgm:pt modelId="{18ACE824-44F2-4D85-A337-8A00A9FA9BDA}" type="pres">
      <dgm:prSet presAssocID="{C8C6AC23-37AA-4E33-8F72-4BC631B78517}" presName="rootComposite2" presStyleCnt="0"/>
      <dgm:spPr/>
    </dgm:pt>
    <dgm:pt modelId="{850A1B13-FCE7-4E3F-A8BB-7C1C9E77A8D3}" type="pres">
      <dgm:prSet presAssocID="{C8C6AC23-37AA-4E33-8F72-4BC631B78517}" presName="rootText2" presStyleLbl="alignAcc1" presStyleIdx="0" presStyleCnt="0">
        <dgm:presLayoutVars>
          <dgm:chPref val="3"/>
        </dgm:presLayoutVars>
      </dgm:prSet>
      <dgm:spPr/>
    </dgm:pt>
    <dgm:pt modelId="{0F432295-0480-46F7-BEAB-09E043442493}" type="pres">
      <dgm:prSet presAssocID="{C8C6AC23-37AA-4E33-8F72-4BC631B78517}" presName="topArc2" presStyleLbl="parChTrans1D1" presStyleIdx="16" presStyleCnt="24"/>
      <dgm:spPr/>
    </dgm:pt>
    <dgm:pt modelId="{B964EFD9-3CBC-43BA-93D5-1C7511544B15}" type="pres">
      <dgm:prSet presAssocID="{C8C6AC23-37AA-4E33-8F72-4BC631B78517}" presName="bottomArc2" presStyleLbl="parChTrans1D1" presStyleIdx="17" presStyleCnt="24"/>
      <dgm:spPr/>
    </dgm:pt>
    <dgm:pt modelId="{5BCA02DB-023A-4E85-86F9-573D0EB9C671}" type="pres">
      <dgm:prSet presAssocID="{C8C6AC23-37AA-4E33-8F72-4BC631B78517}" presName="topConnNode2" presStyleLbl="node3" presStyleIdx="0" presStyleCnt="0"/>
      <dgm:spPr/>
    </dgm:pt>
    <dgm:pt modelId="{088C7353-F8FD-454F-99D6-7275A65611DA}" type="pres">
      <dgm:prSet presAssocID="{C8C6AC23-37AA-4E33-8F72-4BC631B78517}" presName="hierChild4" presStyleCnt="0"/>
      <dgm:spPr/>
    </dgm:pt>
    <dgm:pt modelId="{5ED8C330-D23E-4747-8ABE-E248F2BF4BA0}" type="pres">
      <dgm:prSet presAssocID="{C8C6AC23-37AA-4E33-8F72-4BC631B78517}" presName="hierChild5" presStyleCnt="0"/>
      <dgm:spPr/>
    </dgm:pt>
    <dgm:pt modelId="{AB89603D-5EC6-4BDF-8114-701F786F1504}" type="pres">
      <dgm:prSet presAssocID="{DF250629-BF72-425D-8EAD-8C176411F411}" presName="Name28" presStyleLbl="parChTrans1D3" presStyleIdx="3" presStyleCnt="5"/>
      <dgm:spPr/>
    </dgm:pt>
    <dgm:pt modelId="{9F0783E8-94F6-4A31-BC93-6D82A228B297}" type="pres">
      <dgm:prSet presAssocID="{9F46CAA2-273D-4380-9E2D-108789AEED5D}" presName="hierRoot2" presStyleCnt="0">
        <dgm:presLayoutVars>
          <dgm:hierBranch val="init"/>
        </dgm:presLayoutVars>
      </dgm:prSet>
      <dgm:spPr/>
    </dgm:pt>
    <dgm:pt modelId="{D9B990E1-8183-405F-A414-D668B040247A}" type="pres">
      <dgm:prSet presAssocID="{9F46CAA2-273D-4380-9E2D-108789AEED5D}" presName="rootComposite2" presStyleCnt="0"/>
      <dgm:spPr/>
    </dgm:pt>
    <dgm:pt modelId="{1716140B-47DF-4F22-BAF3-66B827C9611D}" type="pres">
      <dgm:prSet presAssocID="{9F46CAA2-273D-4380-9E2D-108789AEED5D}" presName="rootText2" presStyleLbl="alignAcc1" presStyleIdx="0" presStyleCnt="0">
        <dgm:presLayoutVars>
          <dgm:chPref val="3"/>
        </dgm:presLayoutVars>
      </dgm:prSet>
      <dgm:spPr/>
    </dgm:pt>
    <dgm:pt modelId="{5A1E2DBE-42A0-4D3C-AE9C-DB16FC7CE6DF}" type="pres">
      <dgm:prSet presAssocID="{9F46CAA2-273D-4380-9E2D-108789AEED5D}" presName="topArc2" presStyleLbl="parChTrans1D1" presStyleIdx="18" presStyleCnt="24"/>
      <dgm:spPr/>
    </dgm:pt>
    <dgm:pt modelId="{1E18774A-6039-4286-A07A-C6BC36D8A103}" type="pres">
      <dgm:prSet presAssocID="{9F46CAA2-273D-4380-9E2D-108789AEED5D}" presName="bottomArc2" presStyleLbl="parChTrans1D1" presStyleIdx="19" presStyleCnt="24"/>
      <dgm:spPr/>
    </dgm:pt>
    <dgm:pt modelId="{0F118039-21C0-4E1C-8CDB-928B8C0644BE}" type="pres">
      <dgm:prSet presAssocID="{9F46CAA2-273D-4380-9E2D-108789AEED5D}" presName="topConnNode2" presStyleLbl="node3" presStyleIdx="0" presStyleCnt="0"/>
      <dgm:spPr/>
    </dgm:pt>
    <dgm:pt modelId="{8DDF45A1-48E9-47AA-B12A-5C79687638FC}" type="pres">
      <dgm:prSet presAssocID="{9F46CAA2-273D-4380-9E2D-108789AEED5D}" presName="hierChild4" presStyleCnt="0"/>
      <dgm:spPr/>
    </dgm:pt>
    <dgm:pt modelId="{2E6196FA-D08B-478C-A31A-25445BE3646A}" type="pres">
      <dgm:prSet presAssocID="{9F46CAA2-273D-4380-9E2D-108789AEED5D}" presName="hierChild5" presStyleCnt="0"/>
      <dgm:spPr/>
    </dgm:pt>
    <dgm:pt modelId="{14C7282E-6E04-4C65-B142-6D4474199095}" type="pres">
      <dgm:prSet presAssocID="{20073F56-1063-43E3-99CE-7E77063D0E8F}" presName="hierChild5" presStyleCnt="0"/>
      <dgm:spPr/>
    </dgm:pt>
    <dgm:pt modelId="{014D1F16-3A04-4121-9D70-B293E043DEEA}" type="pres">
      <dgm:prSet presAssocID="{A5C34028-7721-46C6-B1D8-6F3E6F363523}" presName="Name28" presStyleLbl="parChTrans1D2" presStyleIdx="5" presStyleCnt="6"/>
      <dgm:spPr/>
    </dgm:pt>
    <dgm:pt modelId="{771C0C8D-86B9-4C11-9262-628EA461BEAC}" type="pres">
      <dgm:prSet presAssocID="{AEAE2342-2D46-44D1-9BE4-1E4F7758D781}" presName="hierRoot2" presStyleCnt="0">
        <dgm:presLayoutVars>
          <dgm:hierBranch val="init"/>
        </dgm:presLayoutVars>
      </dgm:prSet>
      <dgm:spPr/>
    </dgm:pt>
    <dgm:pt modelId="{86118062-41E4-4ECB-88E7-D5916B42D911}" type="pres">
      <dgm:prSet presAssocID="{AEAE2342-2D46-44D1-9BE4-1E4F7758D781}" presName="rootComposite2" presStyleCnt="0"/>
      <dgm:spPr/>
    </dgm:pt>
    <dgm:pt modelId="{4DD22949-BF16-47C2-B258-9FEA5BA7185E}" type="pres">
      <dgm:prSet presAssocID="{AEAE2342-2D46-44D1-9BE4-1E4F7758D781}" presName="rootText2" presStyleLbl="alignAcc1" presStyleIdx="0" presStyleCnt="0">
        <dgm:presLayoutVars>
          <dgm:chPref val="3"/>
        </dgm:presLayoutVars>
      </dgm:prSet>
      <dgm:spPr/>
    </dgm:pt>
    <dgm:pt modelId="{207887E0-C3A9-4AF4-8C23-D480B49C1863}" type="pres">
      <dgm:prSet presAssocID="{AEAE2342-2D46-44D1-9BE4-1E4F7758D781}" presName="topArc2" presStyleLbl="parChTrans1D1" presStyleIdx="20" presStyleCnt="24"/>
      <dgm:spPr/>
    </dgm:pt>
    <dgm:pt modelId="{15EB1EF3-E230-4123-814E-7EA2C3F5CAE4}" type="pres">
      <dgm:prSet presAssocID="{AEAE2342-2D46-44D1-9BE4-1E4F7758D781}" presName="bottomArc2" presStyleLbl="parChTrans1D1" presStyleIdx="21" presStyleCnt="24"/>
      <dgm:spPr/>
    </dgm:pt>
    <dgm:pt modelId="{400DA229-1DFA-4C99-B21D-CE9F20CFE7C9}" type="pres">
      <dgm:prSet presAssocID="{AEAE2342-2D46-44D1-9BE4-1E4F7758D781}" presName="topConnNode2" presStyleLbl="node2" presStyleIdx="0" presStyleCnt="0"/>
      <dgm:spPr/>
    </dgm:pt>
    <dgm:pt modelId="{99FEA74F-A03C-4052-B2BA-650025663B21}" type="pres">
      <dgm:prSet presAssocID="{AEAE2342-2D46-44D1-9BE4-1E4F7758D781}" presName="hierChild4" presStyleCnt="0"/>
      <dgm:spPr/>
    </dgm:pt>
    <dgm:pt modelId="{87EAFED3-23A6-414A-BB37-8C7115095EE3}" type="pres">
      <dgm:prSet presAssocID="{A47E056D-904A-4411-824A-E3F78F827CD2}" presName="Name28" presStyleLbl="parChTrans1D3" presStyleIdx="4" presStyleCnt="5"/>
      <dgm:spPr/>
    </dgm:pt>
    <dgm:pt modelId="{F7B67471-ACED-4DDB-8491-3725B5F7AD3D}" type="pres">
      <dgm:prSet presAssocID="{B12BE962-C327-4893-A4B5-858B2C537F03}" presName="hierRoot2" presStyleCnt="0">
        <dgm:presLayoutVars>
          <dgm:hierBranch val="init"/>
        </dgm:presLayoutVars>
      </dgm:prSet>
      <dgm:spPr/>
    </dgm:pt>
    <dgm:pt modelId="{51A1B4ED-4A9B-4598-9AA0-7792D1257DA0}" type="pres">
      <dgm:prSet presAssocID="{B12BE962-C327-4893-A4B5-858B2C537F03}" presName="rootComposite2" presStyleCnt="0"/>
      <dgm:spPr/>
    </dgm:pt>
    <dgm:pt modelId="{36FF5672-1FD8-4BFF-B69E-25ECCE46D1D5}" type="pres">
      <dgm:prSet presAssocID="{B12BE962-C327-4893-A4B5-858B2C537F03}" presName="rootText2" presStyleLbl="alignAcc1" presStyleIdx="0" presStyleCnt="0">
        <dgm:presLayoutVars>
          <dgm:chPref val="3"/>
        </dgm:presLayoutVars>
      </dgm:prSet>
      <dgm:spPr/>
    </dgm:pt>
    <dgm:pt modelId="{A7155751-1F83-4DBD-834B-0B060B61E18C}" type="pres">
      <dgm:prSet presAssocID="{B12BE962-C327-4893-A4B5-858B2C537F03}" presName="topArc2" presStyleLbl="parChTrans1D1" presStyleIdx="22" presStyleCnt="24"/>
      <dgm:spPr/>
    </dgm:pt>
    <dgm:pt modelId="{AC0F522C-15CC-4F96-87B0-0C5B6FB3012D}" type="pres">
      <dgm:prSet presAssocID="{B12BE962-C327-4893-A4B5-858B2C537F03}" presName="bottomArc2" presStyleLbl="parChTrans1D1" presStyleIdx="23" presStyleCnt="24"/>
      <dgm:spPr/>
    </dgm:pt>
    <dgm:pt modelId="{AC41A8D8-67D6-4302-AE82-54AC245279F7}" type="pres">
      <dgm:prSet presAssocID="{B12BE962-C327-4893-A4B5-858B2C537F03}" presName="topConnNode2" presStyleLbl="node3" presStyleIdx="0" presStyleCnt="0"/>
      <dgm:spPr/>
    </dgm:pt>
    <dgm:pt modelId="{3F220563-2AE2-45ED-B351-F83F4B70BA2E}" type="pres">
      <dgm:prSet presAssocID="{B12BE962-C327-4893-A4B5-858B2C537F03}" presName="hierChild4" presStyleCnt="0"/>
      <dgm:spPr/>
    </dgm:pt>
    <dgm:pt modelId="{4842CCDC-8CC2-4A67-A757-93907886A573}" type="pres">
      <dgm:prSet presAssocID="{B12BE962-C327-4893-A4B5-858B2C537F03}" presName="hierChild5" presStyleCnt="0"/>
      <dgm:spPr/>
    </dgm:pt>
    <dgm:pt modelId="{7B40A9B1-D74D-451B-B367-AAB4720B4884}" type="pres">
      <dgm:prSet presAssocID="{AEAE2342-2D46-44D1-9BE4-1E4F7758D781}" presName="hierChild5" presStyleCnt="0"/>
      <dgm:spPr/>
    </dgm:pt>
    <dgm:pt modelId="{7D1AB1CA-7D4A-4672-9F0F-E2AC27BED11D}" type="pres">
      <dgm:prSet presAssocID="{7427AFC4-6176-4825-95A4-596C078BF492}" presName="hierChild3" presStyleCnt="0"/>
      <dgm:spPr/>
    </dgm:pt>
  </dgm:ptLst>
  <dgm:cxnLst>
    <dgm:cxn modelId="{2C4B1100-9201-496F-8339-12904100EE03}" type="presOf" srcId="{A47E056D-904A-4411-824A-E3F78F827CD2}" destId="{87EAFED3-23A6-414A-BB37-8C7115095EE3}" srcOrd="0" destOrd="0" presId="urn:microsoft.com/office/officeart/2008/layout/HalfCircleOrganizationChart"/>
    <dgm:cxn modelId="{8606B614-9187-46AA-B0F4-29A97C0806A7}" type="presOf" srcId="{20073F56-1063-43E3-99CE-7E77063D0E8F}" destId="{4D2B5425-2A77-43E8-8216-95A23F04E285}" srcOrd="0" destOrd="0" presId="urn:microsoft.com/office/officeart/2008/layout/HalfCircleOrganizationChart"/>
    <dgm:cxn modelId="{F44D841A-C473-440B-9223-029DDEFA7F0C}" type="presOf" srcId="{1004958B-605C-49AF-B426-3EC184C8B542}" destId="{B0DC3A2B-F898-4912-B569-A266F0F37EFE}" srcOrd="0" destOrd="0" presId="urn:microsoft.com/office/officeart/2008/layout/HalfCircleOrganizationChart"/>
    <dgm:cxn modelId="{66FCD31D-7E61-4890-81CC-3F0B34C42827}" srcId="{7427AFC4-6176-4825-95A4-596C078BF492}" destId="{B93E5D11-6F44-45E4-A358-D41DB05351BF}" srcOrd="3" destOrd="0" parTransId="{044E8D51-9A8C-4260-B72F-A8C15CC20978}" sibTransId="{E0888B23-0643-4746-857D-6AD55580193E}"/>
    <dgm:cxn modelId="{A8840B1F-3E65-4258-BA6E-CA9A8761CB41}" type="presOf" srcId="{8C46398F-A6D6-402A-B40B-6EDEE72DEF5E}" destId="{9CDB9E12-7298-4554-AC15-2FEFA28F99B9}" srcOrd="0" destOrd="0" presId="urn:microsoft.com/office/officeart/2008/layout/HalfCircleOrganizationChart"/>
    <dgm:cxn modelId="{8AA3F924-8A7C-45AD-AAEB-04FCC2BE22AA}" type="presOf" srcId="{AEE785B2-8695-42C5-A823-0E825A92CC80}" destId="{3223B2F3-E48B-445D-AD8A-7DF0CB6D7EF1}" srcOrd="0" destOrd="0" presId="urn:microsoft.com/office/officeart/2008/layout/HalfCircleOrganizationChart"/>
    <dgm:cxn modelId="{536D6D2F-DA02-F848-B60D-0E1DC0FB6504}" type="presOf" srcId="{36999EE3-C304-9649-BE16-49B350FA93E5}" destId="{3FC7EC81-962F-5A47-BD05-EED64D9CAC85}" srcOrd="0" destOrd="0" presId="urn:microsoft.com/office/officeart/2008/layout/HalfCircleOrganizationChart"/>
    <dgm:cxn modelId="{05D9CC31-BC41-4E40-A354-DC7B159C24AE}" type="presOf" srcId="{B12BE962-C327-4893-A4B5-858B2C537F03}" destId="{AC41A8D8-67D6-4302-AE82-54AC245279F7}" srcOrd="1" destOrd="0" presId="urn:microsoft.com/office/officeart/2008/layout/HalfCircleOrganizationChart"/>
    <dgm:cxn modelId="{6D095D32-0676-4909-8AE5-6F57AFE1E842}" srcId="{20073F56-1063-43E3-99CE-7E77063D0E8F}" destId="{C8C6AC23-37AA-4E33-8F72-4BC631B78517}" srcOrd="0" destOrd="0" parTransId="{E576E81C-E4AD-4C7E-8D5E-D4B1D9330AE0}" sibTransId="{A9593850-B9A7-4887-A4DD-570F35C66461}"/>
    <dgm:cxn modelId="{D7222034-E912-466A-9E06-14BBAABD6D81}" srcId="{7427AFC4-6176-4825-95A4-596C078BF492}" destId="{667C86F3-E96F-4FB7-AB1B-4C3BF71DBBB6}" srcOrd="2" destOrd="0" parTransId="{1004958B-605C-49AF-B426-3EC184C8B542}" sibTransId="{230798DD-F022-4804-8F81-1B425B3D7DCA}"/>
    <dgm:cxn modelId="{4F9EAB3D-45E0-4749-A135-F37BC1C2E67F}" srcId="{7427AFC4-6176-4825-95A4-596C078BF492}" destId="{AEAE2342-2D46-44D1-9BE4-1E4F7758D781}" srcOrd="5" destOrd="0" parTransId="{A5C34028-7721-46C6-B1D8-6F3E6F363523}" sibTransId="{F5867EF2-3636-40E0-AF4B-FABEF73F87B4}"/>
    <dgm:cxn modelId="{99944C42-F34B-4FBD-B6B7-138BD4262B9C}" type="presOf" srcId="{9F46CAA2-273D-4380-9E2D-108789AEED5D}" destId="{0F118039-21C0-4E1C-8CDB-928B8C0644BE}" srcOrd="1" destOrd="0" presId="urn:microsoft.com/office/officeart/2008/layout/HalfCircleOrganizationChart"/>
    <dgm:cxn modelId="{5018C547-5CD6-47D8-BB5C-83BC233102D1}" srcId="{20073F56-1063-43E3-99CE-7E77063D0E8F}" destId="{9F46CAA2-273D-4380-9E2D-108789AEED5D}" srcOrd="1" destOrd="0" parTransId="{DF250629-BF72-425D-8EAD-8C176411F411}" sibTransId="{CB599831-D062-46F7-A618-5A4BBC5B1355}"/>
    <dgm:cxn modelId="{B9AE5F4A-0777-436C-9B3F-7C3ACAADA93D}" type="presOf" srcId="{B93E5D11-6F44-45E4-A358-D41DB05351BF}" destId="{5E08827F-A34F-403B-A99B-3BE3111735A2}" srcOrd="0" destOrd="0" presId="urn:microsoft.com/office/officeart/2008/layout/HalfCircleOrganizationChart"/>
    <dgm:cxn modelId="{2F9AEF5D-8868-467B-BDBA-115F1D43A09D}" type="presOf" srcId="{C8C6AC23-37AA-4E33-8F72-4BC631B78517}" destId="{5BCA02DB-023A-4E85-86F9-573D0EB9C671}" srcOrd="1" destOrd="0" presId="urn:microsoft.com/office/officeart/2008/layout/HalfCircleOrganizationChart"/>
    <dgm:cxn modelId="{5611CA65-2676-43CE-AD91-26689307E81B}" type="presOf" srcId="{C8C6AC23-37AA-4E33-8F72-4BC631B78517}" destId="{850A1B13-FCE7-4E3F-A8BB-7C1C9E77A8D3}" srcOrd="0" destOrd="0" presId="urn:microsoft.com/office/officeart/2008/layout/HalfCircleOrganizationChart"/>
    <dgm:cxn modelId="{98023766-FC20-7B42-BBE8-12C2C20D69A9}" type="presOf" srcId="{3F3CD071-F174-0842-8A72-05A7717A62EF}" destId="{EB5266ED-4D93-A34D-9997-35453731ED44}" srcOrd="0" destOrd="0" presId="urn:microsoft.com/office/officeart/2008/layout/HalfCircleOrganizationChart"/>
    <dgm:cxn modelId="{E8EB7D75-6A23-4D70-9741-F469973CCC2B}" type="presOf" srcId="{0FF3073E-63CC-4DC1-BAA8-104D6F3A2832}" destId="{860CB8AD-8C92-4DAA-82E6-B3DD0BC3A54C}" srcOrd="1" destOrd="0" presId="urn:microsoft.com/office/officeart/2008/layout/HalfCircleOrganizationChart"/>
    <dgm:cxn modelId="{CFA43D81-0795-4DE7-A5CC-E0E64F9B0C8A}" type="presOf" srcId="{7427AFC4-6176-4825-95A4-596C078BF492}" destId="{28C452B7-0647-4DC9-A1B1-A8D327DB26EC}" srcOrd="1" destOrd="0" presId="urn:microsoft.com/office/officeart/2008/layout/HalfCircleOrganizationChart"/>
    <dgm:cxn modelId="{6F91F385-86F4-4079-81F3-1DE105E4F9BF}" srcId="{AEAE2342-2D46-44D1-9BE4-1E4F7758D781}" destId="{B12BE962-C327-4893-A4B5-858B2C537F03}" srcOrd="0" destOrd="0" parTransId="{A47E056D-904A-4411-824A-E3F78F827CD2}" sibTransId="{AEAB8AA1-4F19-413B-9240-587D18781CB4}"/>
    <dgm:cxn modelId="{7808AD87-7462-43F0-BBED-032FF097CF41}" type="presOf" srcId="{0FF3073E-63CC-4DC1-BAA8-104D6F3A2832}" destId="{6A7A9502-537C-4114-9BFC-9A2EBD525A6D}" srcOrd="0" destOrd="0" presId="urn:microsoft.com/office/officeart/2008/layout/HalfCircleOrganizationChart"/>
    <dgm:cxn modelId="{3DF3EE92-2E8C-B54E-9F5E-2CB6DF26428A}" type="presOf" srcId="{36999EE3-C304-9649-BE16-49B350FA93E5}" destId="{DE1E4C85-9072-3D42-9ACA-0FCC1075CA08}" srcOrd="1" destOrd="0" presId="urn:microsoft.com/office/officeart/2008/layout/HalfCircleOrganizationChart"/>
    <dgm:cxn modelId="{BA3AF996-13B4-44E3-8D17-62F963F69983}" type="presOf" srcId="{20073F56-1063-43E3-99CE-7E77063D0E8F}" destId="{99854BC1-B858-4EA4-B488-CC5E438F3E8C}" srcOrd="1" destOrd="0" presId="urn:microsoft.com/office/officeart/2008/layout/HalfCircleOrganizationChart"/>
    <dgm:cxn modelId="{51574C98-03E6-4B49-BDC9-AC5528F6216E}" type="presOf" srcId="{E576E81C-E4AD-4C7E-8D5E-D4B1D9330AE0}" destId="{BDF3AB7C-F9F0-4669-8838-9608EA781EE8}" srcOrd="0" destOrd="0" presId="urn:microsoft.com/office/officeart/2008/layout/HalfCircleOrganizationChart"/>
    <dgm:cxn modelId="{352A5D98-26F8-0748-ABEA-421CD9667DDF}" srcId="{8C46398F-A6D6-402A-B40B-6EDEE72DEF5E}" destId="{54817C10-E2EA-7E47-8521-EF648192904F}" srcOrd="0" destOrd="0" parTransId="{3F3CD071-F174-0842-8A72-05A7717A62EF}" sibTransId="{A8F83C51-79DA-874B-91DE-3E2F377CCB13}"/>
    <dgm:cxn modelId="{24F920A4-453F-470F-BB11-B52722D4686D}" type="presOf" srcId="{B12BE962-C327-4893-A4B5-858B2C537F03}" destId="{36FF5672-1FD8-4BFF-B69E-25ECCE46D1D5}" srcOrd="0" destOrd="0" presId="urn:microsoft.com/office/officeart/2008/layout/HalfCircleOrganizationChart"/>
    <dgm:cxn modelId="{66317CB2-1B40-4608-BD99-724D6C59B0A6}" srcId="{7427AFC4-6176-4825-95A4-596C078BF492}" destId="{20073F56-1063-43E3-99CE-7E77063D0E8F}" srcOrd="4" destOrd="0" parTransId="{88AA4DE4-D83D-4E5E-9268-15840D162CCB}" sibTransId="{2D5FA891-F0F7-4E9C-884D-1CEBC8EA1926}"/>
    <dgm:cxn modelId="{DF72A4B7-A9AE-6745-A558-77636757D3DD}" type="presOf" srcId="{54817C10-E2EA-7E47-8521-EF648192904F}" destId="{20D47ABF-1A8E-8043-92C5-9CF6DA28FF95}" srcOrd="0" destOrd="0" presId="urn:microsoft.com/office/officeart/2008/layout/HalfCircleOrganizationChart"/>
    <dgm:cxn modelId="{BA70C4B7-0BB9-4E08-A681-4E4932E214FE}" type="presOf" srcId="{B8A4AF12-FE60-4F84-B47F-27165E168C6F}" destId="{178EADEB-CF60-4B19-A8BB-3E7D63D248A7}" srcOrd="0" destOrd="0" presId="urn:microsoft.com/office/officeart/2008/layout/HalfCircleOrganizationChart"/>
    <dgm:cxn modelId="{4B3284B9-B585-408A-AC46-CC28B15A620A}" type="presOf" srcId="{667C86F3-E96F-4FB7-AB1B-4C3BF71DBBB6}" destId="{EDE21742-5C05-4C26-8664-336B958DF8E1}" srcOrd="1" destOrd="0" presId="urn:microsoft.com/office/officeart/2008/layout/HalfCircleOrganizationChart"/>
    <dgm:cxn modelId="{345639BB-B379-4179-84CE-E45B7A304FD3}" type="presOf" srcId="{AEAE2342-2D46-44D1-9BE4-1E4F7758D781}" destId="{4DD22949-BF16-47C2-B258-9FEA5BA7185E}" srcOrd="0" destOrd="0" presId="urn:microsoft.com/office/officeart/2008/layout/HalfCircleOrganizationChart"/>
    <dgm:cxn modelId="{99EF7EBB-1668-4098-B79C-E8D9124E4DC5}" srcId="{667C86F3-E96F-4FB7-AB1B-4C3BF71DBBB6}" destId="{0FF3073E-63CC-4DC1-BAA8-104D6F3A2832}" srcOrd="0" destOrd="0" parTransId="{B8A4AF12-FE60-4F84-B47F-27165E168C6F}" sibTransId="{436C4A09-46F7-4203-A6ED-0064FAD995B9}"/>
    <dgm:cxn modelId="{0C8AD6BD-AA6D-4B18-A3D9-64EC51751C3B}" type="presOf" srcId="{8C46398F-A6D6-402A-B40B-6EDEE72DEF5E}" destId="{5AF0F2E6-9EA1-47EA-8D79-AF7908D8CD15}" srcOrd="1" destOrd="0" presId="urn:microsoft.com/office/officeart/2008/layout/HalfCircleOrganizationChart"/>
    <dgm:cxn modelId="{8A8786C0-6BF9-4040-BC32-C2CBD4C52D68}" type="presOf" srcId="{A5C34028-7721-46C6-B1D8-6F3E6F363523}" destId="{014D1F16-3A04-4121-9D70-B293E043DEEA}" srcOrd="0" destOrd="0" presId="urn:microsoft.com/office/officeart/2008/layout/HalfCircleOrganizationChart"/>
    <dgm:cxn modelId="{03B5F6C2-20BD-4811-9C36-E5801D13119D}" type="presOf" srcId="{7427AFC4-6176-4825-95A4-596C078BF492}" destId="{0281157D-4611-42E9-BD04-E3431F98ECEB}" srcOrd="0" destOrd="0" presId="urn:microsoft.com/office/officeart/2008/layout/HalfCircleOrganizationChart"/>
    <dgm:cxn modelId="{CD3557C4-5C34-4CA3-A7B2-D1E2401BF2D2}" type="presOf" srcId="{9F46CAA2-273D-4380-9E2D-108789AEED5D}" destId="{1716140B-47DF-4F22-BAF3-66B827C9611D}" srcOrd="0" destOrd="0" presId="urn:microsoft.com/office/officeart/2008/layout/HalfCircleOrganizationChart"/>
    <dgm:cxn modelId="{255AFAC7-17EA-4C90-ADD7-027747565145}" type="presOf" srcId="{667C86F3-E96F-4FB7-AB1B-4C3BF71DBBB6}" destId="{0D01280A-F87A-47FC-A4CA-41A207539AD2}" srcOrd="0" destOrd="0" presId="urn:microsoft.com/office/officeart/2008/layout/HalfCircleOrganizationChart"/>
    <dgm:cxn modelId="{535841C8-EB65-4F22-B6C1-3AEECD3952E3}" type="presOf" srcId="{DF250629-BF72-425D-8EAD-8C176411F411}" destId="{AB89603D-5EC6-4BDF-8114-701F786F1504}" srcOrd="0" destOrd="0" presId="urn:microsoft.com/office/officeart/2008/layout/HalfCircleOrganizationChart"/>
    <dgm:cxn modelId="{C17F5ECC-7553-4365-827D-4F446B6E2032}" type="presOf" srcId="{044E8D51-9A8C-4260-B72F-A8C15CC20978}" destId="{0B0344E9-26EB-4890-A574-DFFFAC9B663E}" srcOrd="0" destOrd="0" presId="urn:microsoft.com/office/officeart/2008/layout/HalfCircleOrganizationChart"/>
    <dgm:cxn modelId="{D08C62CC-E0A4-9C49-B220-FCE5F2EAEF4D}" type="presOf" srcId="{71C1A6B7-CB6A-AE45-9810-63615C238EB9}" destId="{B90324A2-9B53-814B-AFCB-C9A752F5254B}" srcOrd="0" destOrd="0" presId="urn:microsoft.com/office/officeart/2008/layout/HalfCircleOrganizationChart"/>
    <dgm:cxn modelId="{5D9AE1D3-D327-4F1B-A234-E138BA923726}" type="presOf" srcId="{AEAE2342-2D46-44D1-9BE4-1E4F7758D781}" destId="{400DA229-1DFA-4C99-B21D-CE9F20CFE7C9}" srcOrd="1" destOrd="0" presId="urn:microsoft.com/office/officeart/2008/layout/HalfCircleOrganizationChart"/>
    <dgm:cxn modelId="{85FEEBD4-5E58-4A16-94BC-C0518D4F0772}" srcId="{7427AFC4-6176-4825-95A4-596C078BF492}" destId="{8C46398F-A6D6-402A-B40B-6EDEE72DEF5E}" srcOrd="0" destOrd="0" parTransId="{325B9C6F-BAB8-4119-8949-83A4E889B558}" sibTransId="{7C95A888-0715-4B0E-9D52-DED6D9FEDFA0}"/>
    <dgm:cxn modelId="{FA0A0ED6-A008-4729-92F4-6BB7F6838526}" type="presOf" srcId="{325B9C6F-BAB8-4119-8949-83A4E889B558}" destId="{73EF868A-836F-4D40-A183-6515D1E2DD65}" srcOrd="0" destOrd="0" presId="urn:microsoft.com/office/officeart/2008/layout/HalfCircleOrganizationChart"/>
    <dgm:cxn modelId="{41A273DC-40FC-7443-B9EE-BD633A0E9104}" srcId="{7427AFC4-6176-4825-95A4-596C078BF492}" destId="{36999EE3-C304-9649-BE16-49B350FA93E5}" srcOrd="1" destOrd="0" parTransId="{71C1A6B7-CB6A-AE45-9810-63615C238EB9}" sibTransId="{AF6BAFAE-F65B-D345-B5A1-FA8EB2A795DC}"/>
    <dgm:cxn modelId="{16D3A9E6-8E9E-4B9C-AC70-243285124B68}" srcId="{AEE785B2-8695-42C5-A823-0E825A92CC80}" destId="{7427AFC4-6176-4825-95A4-596C078BF492}" srcOrd="0" destOrd="0" parTransId="{186AD14D-99B9-4A98-AB3E-FD8C59B83CCB}" sibTransId="{BCC92CC4-95CD-4C25-AC48-9BC9DAC08684}"/>
    <dgm:cxn modelId="{CDA0FDE7-F8CF-D849-91C8-9754D198E0E7}" type="presOf" srcId="{54817C10-E2EA-7E47-8521-EF648192904F}" destId="{1E99C966-A707-E847-94A2-CC6090202F04}" srcOrd="1" destOrd="0" presId="urn:microsoft.com/office/officeart/2008/layout/HalfCircleOrganizationChart"/>
    <dgm:cxn modelId="{08EB76EE-650E-40E7-B25E-57A8B4A3C33F}" type="presOf" srcId="{B93E5D11-6F44-45E4-A358-D41DB05351BF}" destId="{66F3C54F-CC96-4108-9160-F4A72E0BD31C}" srcOrd="1" destOrd="0" presId="urn:microsoft.com/office/officeart/2008/layout/HalfCircleOrganizationChart"/>
    <dgm:cxn modelId="{8E56A4F7-F1FB-4462-92CD-371DD4D5EB2F}" type="presOf" srcId="{88AA4DE4-D83D-4E5E-9268-15840D162CCB}" destId="{AD161FC4-339A-427E-8BD1-0A6B823749AD}" srcOrd="0" destOrd="0" presId="urn:microsoft.com/office/officeart/2008/layout/HalfCircleOrganizationChart"/>
    <dgm:cxn modelId="{3F40F06E-520E-4F5E-8E22-8C4C24E62C4E}" type="presParOf" srcId="{3223B2F3-E48B-445D-AD8A-7DF0CB6D7EF1}" destId="{4A1F987C-3ED3-472E-9123-5E1E5F6EB39A}" srcOrd="0" destOrd="0" presId="urn:microsoft.com/office/officeart/2008/layout/HalfCircleOrganizationChart"/>
    <dgm:cxn modelId="{7DDEEF49-8B25-4221-9666-6C556898FC9D}" type="presParOf" srcId="{4A1F987C-3ED3-472E-9123-5E1E5F6EB39A}" destId="{9C9C1077-9E32-4C27-BCD4-8A6BC1191B5D}" srcOrd="0" destOrd="0" presId="urn:microsoft.com/office/officeart/2008/layout/HalfCircleOrganizationChart"/>
    <dgm:cxn modelId="{7D2549D5-AAB6-4913-94B1-93A634ED5CC8}" type="presParOf" srcId="{9C9C1077-9E32-4C27-BCD4-8A6BC1191B5D}" destId="{0281157D-4611-42E9-BD04-E3431F98ECEB}" srcOrd="0" destOrd="0" presId="urn:microsoft.com/office/officeart/2008/layout/HalfCircleOrganizationChart"/>
    <dgm:cxn modelId="{FB1D9773-2E79-499C-A057-4B628CC481FA}" type="presParOf" srcId="{9C9C1077-9E32-4C27-BCD4-8A6BC1191B5D}" destId="{A2FE98E3-D9CD-435F-A041-968066283D01}" srcOrd="1" destOrd="0" presId="urn:microsoft.com/office/officeart/2008/layout/HalfCircleOrganizationChart"/>
    <dgm:cxn modelId="{A64999F2-DD39-4DF9-BB02-3D7D2FB036F9}" type="presParOf" srcId="{9C9C1077-9E32-4C27-BCD4-8A6BC1191B5D}" destId="{FFE8766F-20C0-4E87-8749-738564E04CB7}" srcOrd="2" destOrd="0" presId="urn:microsoft.com/office/officeart/2008/layout/HalfCircleOrganizationChart"/>
    <dgm:cxn modelId="{AC320251-F1F6-4693-9BA9-D560B7F4D4CB}" type="presParOf" srcId="{9C9C1077-9E32-4C27-BCD4-8A6BC1191B5D}" destId="{28C452B7-0647-4DC9-A1B1-A8D327DB26EC}" srcOrd="3" destOrd="0" presId="urn:microsoft.com/office/officeart/2008/layout/HalfCircleOrganizationChart"/>
    <dgm:cxn modelId="{6BFFCB89-8448-421D-A6B1-7279D6BBE5FD}" type="presParOf" srcId="{4A1F987C-3ED3-472E-9123-5E1E5F6EB39A}" destId="{94EB2440-3008-4C11-879D-82B11EAE75FD}" srcOrd="1" destOrd="0" presId="urn:microsoft.com/office/officeart/2008/layout/HalfCircleOrganizationChart"/>
    <dgm:cxn modelId="{04F9127F-3966-403C-AFE6-B4E4212D662A}" type="presParOf" srcId="{94EB2440-3008-4C11-879D-82B11EAE75FD}" destId="{73EF868A-836F-4D40-A183-6515D1E2DD65}" srcOrd="0" destOrd="0" presId="urn:microsoft.com/office/officeart/2008/layout/HalfCircleOrganizationChart"/>
    <dgm:cxn modelId="{707ABC3F-524E-46B0-959A-2CFD676B6C40}" type="presParOf" srcId="{94EB2440-3008-4C11-879D-82B11EAE75FD}" destId="{44C2ED59-D473-43F0-9154-871D21773351}" srcOrd="1" destOrd="0" presId="urn:microsoft.com/office/officeart/2008/layout/HalfCircleOrganizationChart"/>
    <dgm:cxn modelId="{9063C221-8008-43DF-A62D-415EFFA95AD5}" type="presParOf" srcId="{44C2ED59-D473-43F0-9154-871D21773351}" destId="{D4C5EFCF-8B70-4902-80D2-597BED5B94EA}" srcOrd="0" destOrd="0" presId="urn:microsoft.com/office/officeart/2008/layout/HalfCircleOrganizationChart"/>
    <dgm:cxn modelId="{5F44BBA0-C256-4C06-9D61-F0B29E3E1415}" type="presParOf" srcId="{D4C5EFCF-8B70-4902-80D2-597BED5B94EA}" destId="{9CDB9E12-7298-4554-AC15-2FEFA28F99B9}" srcOrd="0" destOrd="0" presId="urn:microsoft.com/office/officeart/2008/layout/HalfCircleOrganizationChart"/>
    <dgm:cxn modelId="{C5E0E289-09D6-48DB-A1DB-BFC9CF3A384D}" type="presParOf" srcId="{D4C5EFCF-8B70-4902-80D2-597BED5B94EA}" destId="{2B4592C0-9788-4A50-B517-6A54EA34E84A}" srcOrd="1" destOrd="0" presId="urn:microsoft.com/office/officeart/2008/layout/HalfCircleOrganizationChart"/>
    <dgm:cxn modelId="{B8F595F2-27B7-4381-AE1A-DED3EB025701}" type="presParOf" srcId="{D4C5EFCF-8B70-4902-80D2-597BED5B94EA}" destId="{ADDDCA98-ED92-46A8-9B8C-45F32A339262}" srcOrd="2" destOrd="0" presId="urn:microsoft.com/office/officeart/2008/layout/HalfCircleOrganizationChart"/>
    <dgm:cxn modelId="{50BA4347-DC25-4A63-BBF5-C45F86D8BD13}" type="presParOf" srcId="{D4C5EFCF-8B70-4902-80D2-597BED5B94EA}" destId="{5AF0F2E6-9EA1-47EA-8D79-AF7908D8CD15}" srcOrd="3" destOrd="0" presId="urn:microsoft.com/office/officeart/2008/layout/HalfCircleOrganizationChart"/>
    <dgm:cxn modelId="{99B86248-8D21-42BC-8400-E7520F10762C}" type="presParOf" srcId="{44C2ED59-D473-43F0-9154-871D21773351}" destId="{33218253-BADD-4C6B-8B05-36FE95C66BB0}" srcOrd="1" destOrd="0" presId="urn:microsoft.com/office/officeart/2008/layout/HalfCircleOrganizationChart"/>
    <dgm:cxn modelId="{F99FD1F2-1F42-814D-AAEC-3C7C2D1E9D45}" type="presParOf" srcId="{33218253-BADD-4C6B-8B05-36FE95C66BB0}" destId="{EB5266ED-4D93-A34D-9997-35453731ED44}" srcOrd="0" destOrd="0" presId="urn:microsoft.com/office/officeart/2008/layout/HalfCircleOrganizationChart"/>
    <dgm:cxn modelId="{CA532DC7-47F1-5A47-A4F5-08A68B5E0878}" type="presParOf" srcId="{33218253-BADD-4C6B-8B05-36FE95C66BB0}" destId="{52862C75-7A01-4A4A-8FC1-92FE13D45E17}" srcOrd="1" destOrd="0" presId="urn:microsoft.com/office/officeart/2008/layout/HalfCircleOrganizationChart"/>
    <dgm:cxn modelId="{C28113A2-CAB3-1141-B0EA-526E5DF08150}" type="presParOf" srcId="{52862C75-7A01-4A4A-8FC1-92FE13D45E17}" destId="{657201EA-FC41-4242-BBCB-E346D7A37C9A}" srcOrd="0" destOrd="0" presId="urn:microsoft.com/office/officeart/2008/layout/HalfCircleOrganizationChart"/>
    <dgm:cxn modelId="{64750C53-586C-5E4D-A463-2B02FC4D3FAA}" type="presParOf" srcId="{657201EA-FC41-4242-BBCB-E346D7A37C9A}" destId="{20D47ABF-1A8E-8043-92C5-9CF6DA28FF95}" srcOrd="0" destOrd="0" presId="urn:microsoft.com/office/officeart/2008/layout/HalfCircleOrganizationChart"/>
    <dgm:cxn modelId="{CA5BD26C-97D0-B042-B55F-CA34A672A7C2}" type="presParOf" srcId="{657201EA-FC41-4242-BBCB-E346D7A37C9A}" destId="{9104AEAE-0B12-8245-934A-C619B754FEDC}" srcOrd="1" destOrd="0" presId="urn:microsoft.com/office/officeart/2008/layout/HalfCircleOrganizationChart"/>
    <dgm:cxn modelId="{8C5245B6-9E5C-C743-9A29-7A83139EA798}" type="presParOf" srcId="{657201EA-FC41-4242-BBCB-E346D7A37C9A}" destId="{7369CFF2-D046-194F-93F1-232D01B120CF}" srcOrd="2" destOrd="0" presId="urn:microsoft.com/office/officeart/2008/layout/HalfCircleOrganizationChart"/>
    <dgm:cxn modelId="{F602E2BC-4AD0-714A-9694-20E5107EB250}" type="presParOf" srcId="{657201EA-FC41-4242-BBCB-E346D7A37C9A}" destId="{1E99C966-A707-E847-94A2-CC6090202F04}" srcOrd="3" destOrd="0" presId="urn:microsoft.com/office/officeart/2008/layout/HalfCircleOrganizationChart"/>
    <dgm:cxn modelId="{1BBBAC9C-7FEE-3B44-BBDC-BADA487A2F30}" type="presParOf" srcId="{52862C75-7A01-4A4A-8FC1-92FE13D45E17}" destId="{3BD15EF5-3B4E-CD40-869B-BFF85F9AE810}" srcOrd="1" destOrd="0" presId="urn:microsoft.com/office/officeart/2008/layout/HalfCircleOrganizationChart"/>
    <dgm:cxn modelId="{3F975B8D-B3FC-2B42-9168-BC208342DF3B}" type="presParOf" srcId="{52862C75-7A01-4A4A-8FC1-92FE13D45E17}" destId="{7EEDBE1F-E618-5542-BBC6-0257BD15398C}" srcOrd="2" destOrd="0" presId="urn:microsoft.com/office/officeart/2008/layout/HalfCircleOrganizationChart"/>
    <dgm:cxn modelId="{D0026825-A45F-481F-8CA3-F2418491E492}" type="presParOf" srcId="{44C2ED59-D473-43F0-9154-871D21773351}" destId="{85E1D0DC-7A70-43C0-91FF-D112CBE50A71}" srcOrd="2" destOrd="0" presId="urn:microsoft.com/office/officeart/2008/layout/HalfCircleOrganizationChart"/>
    <dgm:cxn modelId="{6BFD29FD-D6E8-0547-8866-F84182EBD77C}" type="presParOf" srcId="{94EB2440-3008-4C11-879D-82B11EAE75FD}" destId="{B90324A2-9B53-814B-AFCB-C9A752F5254B}" srcOrd="2" destOrd="0" presId="urn:microsoft.com/office/officeart/2008/layout/HalfCircleOrganizationChart"/>
    <dgm:cxn modelId="{2D127226-8145-C242-A281-EA66A58DD54A}" type="presParOf" srcId="{94EB2440-3008-4C11-879D-82B11EAE75FD}" destId="{F5A39AF5-A3AD-4744-91ED-8630E1E734BD}" srcOrd="3" destOrd="0" presId="urn:microsoft.com/office/officeart/2008/layout/HalfCircleOrganizationChart"/>
    <dgm:cxn modelId="{6F1E613E-AC4F-BB47-BCC8-51EB19D1041F}" type="presParOf" srcId="{F5A39AF5-A3AD-4744-91ED-8630E1E734BD}" destId="{27CAE35A-2518-1349-96E2-BB3029C455FD}" srcOrd="0" destOrd="0" presId="urn:microsoft.com/office/officeart/2008/layout/HalfCircleOrganizationChart"/>
    <dgm:cxn modelId="{36FF3607-5678-2B4D-BCCE-869D3E79F89C}" type="presParOf" srcId="{27CAE35A-2518-1349-96E2-BB3029C455FD}" destId="{3FC7EC81-962F-5A47-BD05-EED64D9CAC85}" srcOrd="0" destOrd="0" presId="urn:microsoft.com/office/officeart/2008/layout/HalfCircleOrganizationChart"/>
    <dgm:cxn modelId="{2351F606-7193-DF49-BE1E-1DB5B8B74C9D}" type="presParOf" srcId="{27CAE35A-2518-1349-96E2-BB3029C455FD}" destId="{FE846FB7-FF5D-8F44-9B7B-6D260193238E}" srcOrd="1" destOrd="0" presId="urn:microsoft.com/office/officeart/2008/layout/HalfCircleOrganizationChart"/>
    <dgm:cxn modelId="{AFB02220-CDAB-3240-99F3-C6A2B68FFF64}" type="presParOf" srcId="{27CAE35A-2518-1349-96E2-BB3029C455FD}" destId="{E3CD95FC-D3AD-024E-BF65-3AAB6734F5E2}" srcOrd="2" destOrd="0" presId="urn:microsoft.com/office/officeart/2008/layout/HalfCircleOrganizationChart"/>
    <dgm:cxn modelId="{0AF09984-1B52-2946-950A-A5C62DA02D14}" type="presParOf" srcId="{27CAE35A-2518-1349-96E2-BB3029C455FD}" destId="{DE1E4C85-9072-3D42-9ACA-0FCC1075CA08}" srcOrd="3" destOrd="0" presId="urn:microsoft.com/office/officeart/2008/layout/HalfCircleOrganizationChart"/>
    <dgm:cxn modelId="{DA91C28C-96CA-594F-9720-00A6395BE660}" type="presParOf" srcId="{F5A39AF5-A3AD-4744-91ED-8630E1E734BD}" destId="{283DE096-1534-9E49-974F-23BF7115AEDD}" srcOrd="1" destOrd="0" presId="urn:microsoft.com/office/officeart/2008/layout/HalfCircleOrganizationChart"/>
    <dgm:cxn modelId="{045B97A2-1B68-9942-96DC-CEEA69697E91}" type="presParOf" srcId="{F5A39AF5-A3AD-4744-91ED-8630E1E734BD}" destId="{EE455BE9-205E-8341-9632-9157A9CBD5D3}" srcOrd="2" destOrd="0" presId="urn:microsoft.com/office/officeart/2008/layout/HalfCircleOrganizationChart"/>
    <dgm:cxn modelId="{30854B53-2541-4602-AA21-0C2AEEDD090D}" type="presParOf" srcId="{94EB2440-3008-4C11-879D-82B11EAE75FD}" destId="{B0DC3A2B-F898-4912-B569-A266F0F37EFE}" srcOrd="4" destOrd="0" presId="urn:microsoft.com/office/officeart/2008/layout/HalfCircleOrganizationChart"/>
    <dgm:cxn modelId="{E5D8F2F3-AF97-4D2D-8884-45C6FA7C4118}" type="presParOf" srcId="{94EB2440-3008-4C11-879D-82B11EAE75FD}" destId="{59356FBC-E556-4589-B651-23CD087985FF}" srcOrd="5" destOrd="0" presId="urn:microsoft.com/office/officeart/2008/layout/HalfCircleOrganizationChart"/>
    <dgm:cxn modelId="{FA711EEB-9976-4F81-92CB-7F07B3B05C20}" type="presParOf" srcId="{59356FBC-E556-4589-B651-23CD087985FF}" destId="{544E7B0C-C4B9-41EC-91F6-1CF220AFC547}" srcOrd="0" destOrd="0" presId="urn:microsoft.com/office/officeart/2008/layout/HalfCircleOrganizationChart"/>
    <dgm:cxn modelId="{C48D3282-E857-4C0B-956A-E46CBCEE63C3}" type="presParOf" srcId="{544E7B0C-C4B9-41EC-91F6-1CF220AFC547}" destId="{0D01280A-F87A-47FC-A4CA-41A207539AD2}" srcOrd="0" destOrd="0" presId="urn:microsoft.com/office/officeart/2008/layout/HalfCircleOrganizationChart"/>
    <dgm:cxn modelId="{9C9C39F5-1711-43EC-BE55-3E64C945F722}" type="presParOf" srcId="{544E7B0C-C4B9-41EC-91F6-1CF220AFC547}" destId="{320D484A-62CF-4014-9136-57B263F224F0}" srcOrd="1" destOrd="0" presId="urn:microsoft.com/office/officeart/2008/layout/HalfCircleOrganizationChart"/>
    <dgm:cxn modelId="{B1DB51D8-64F4-49F9-A1EC-AFC13E804247}" type="presParOf" srcId="{544E7B0C-C4B9-41EC-91F6-1CF220AFC547}" destId="{B91E759D-DC3B-4B07-8063-9E2C0632F98A}" srcOrd="2" destOrd="0" presId="urn:microsoft.com/office/officeart/2008/layout/HalfCircleOrganizationChart"/>
    <dgm:cxn modelId="{C04C757B-CBD3-41F1-B601-D1913EA3E3AA}" type="presParOf" srcId="{544E7B0C-C4B9-41EC-91F6-1CF220AFC547}" destId="{EDE21742-5C05-4C26-8664-336B958DF8E1}" srcOrd="3" destOrd="0" presId="urn:microsoft.com/office/officeart/2008/layout/HalfCircleOrganizationChart"/>
    <dgm:cxn modelId="{6BA6D58D-EE07-4E55-8B30-AC2C3927848B}" type="presParOf" srcId="{59356FBC-E556-4589-B651-23CD087985FF}" destId="{D9BF021D-0250-459E-9136-579798727864}" srcOrd="1" destOrd="0" presId="urn:microsoft.com/office/officeart/2008/layout/HalfCircleOrganizationChart"/>
    <dgm:cxn modelId="{2687A3C5-FCD3-418B-BB73-1768D9346B65}" type="presParOf" srcId="{D9BF021D-0250-459E-9136-579798727864}" destId="{178EADEB-CF60-4B19-A8BB-3E7D63D248A7}" srcOrd="0" destOrd="0" presId="urn:microsoft.com/office/officeart/2008/layout/HalfCircleOrganizationChart"/>
    <dgm:cxn modelId="{2E6FAFC0-800A-4B3C-8304-C8D4C82FCB26}" type="presParOf" srcId="{D9BF021D-0250-459E-9136-579798727864}" destId="{B3E4CBF1-7DC3-4290-8C88-B4F06CC5D994}" srcOrd="1" destOrd="0" presId="urn:microsoft.com/office/officeart/2008/layout/HalfCircleOrganizationChart"/>
    <dgm:cxn modelId="{00CDA9E4-F356-421A-B4E6-D73645C2432E}" type="presParOf" srcId="{B3E4CBF1-7DC3-4290-8C88-B4F06CC5D994}" destId="{628509B1-7EB5-4497-B401-1C591615C98F}" srcOrd="0" destOrd="0" presId="urn:microsoft.com/office/officeart/2008/layout/HalfCircleOrganizationChart"/>
    <dgm:cxn modelId="{64CBE34A-4709-4F78-9812-362C30F6AACB}" type="presParOf" srcId="{628509B1-7EB5-4497-B401-1C591615C98F}" destId="{6A7A9502-537C-4114-9BFC-9A2EBD525A6D}" srcOrd="0" destOrd="0" presId="urn:microsoft.com/office/officeart/2008/layout/HalfCircleOrganizationChart"/>
    <dgm:cxn modelId="{1F0DB25F-A369-4365-9ED8-CCC8EE10DBB2}" type="presParOf" srcId="{628509B1-7EB5-4497-B401-1C591615C98F}" destId="{CF1D7A04-7A12-4286-8443-785F5592614C}" srcOrd="1" destOrd="0" presId="urn:microsoft.com/office/officeart/2008/layout/HalfCircleOrganizationChart"/>
    <dgm:cxn modelId="{6FF67706-9883-46A4-B0F3-A53C8F8A264E}" type="presParOf" srcId="{628509B1-7EB5-4497-B401-1C591615C98F}" destId="{82328BB3-FFEB-4306-80EB-2F6F645D9AF3}" srcOrd="2" destOrd="0" presId="urn:microsoft.com/office/officeart/2008/layout/HalfCircleOrganizationChart"/>
    <dgm:cxn modelId="{5FC19630-357A-41C1-922D-8C635716A691}" type="presParOf" srcId="{628509B1-7EB5-4497-B401-1C591615C98F}" destId="{860CB8AD-8C92-4DAA-82E6-B3DD0BC3A54C}" srcOrd="3" destOrd="0" presId="urn:microsoft.com/office/officeart/2008/layout/HalfCircleOrganizationChart"/>
    <dgm:cxn modelId="{E7328960-5BD6-4545-A100-9922E220D6A1}" type="presParOf" srcId="{B3E4CBF1-7DC3-4290-8C88-B4F06CC5D994}" destId="{FEBCBF5E-0F84-4AFA-B6FD-747238D9A214}" srcOrd="1" destOrd="0" presId="urn:microsoft.com/office/officeart/2008/layout/HalfCircleOrganizationChart"/>
    <dgm:cxn modelId="{370520D5-6F0F-4B3A-9EBA-0934DF7F72CD}" type="presParOf" srcId="{B3E4CBF1-7DC3-4290-8C88-B4F06CC5D994}" destId="{00D46484-6099-4712-92D8-7FA79B2A14D9}" srcOrd="2" destOrd="0" presId="urn:microsoft.com/office/officeart/2008/layout/HalfCircleOrganizationChart"/>
    <dgm:cxn modelId="{C930B5D5-8C1F-4A66-B638-5AFB9AD91C36}" type="presParOf" srcId="{59356FBC-E556-4589-B651-23CD087985FF}" destId="{D8AE84E9-F6C0-4EA2-81B2-B670BE89FE19}" srcOrd="2" destOrd="0" presId="urn:microsoft.com/office/officeart/2008/layout/HalfCircleOrganizationChart"/>
    <dgm:cxn modelId="{7FB3FD6D-D8F6-48F7-91FA-D895B712D854}" type="presParOf" srcId="{94EB2440-3008-4C11-879D-82B11EAE75FD}" destId="{0B0344E9-26EB-4890-A574-DFFFAC9B663E}" srcOrd="6" destOrd="0" presId="urn:microsoft.com/office/officeart/2008/layout/HalfCircleOrganizationChart"/>
    <dgm:cxn modelId="{4D53F250-B8E4-4006-BFC4-B06F561A2F7E}" type="presParOf" srcId="{94EB2440-3008-4C11-879D-82B11EAE75FD}" destId="{42AEAAF9-53EC-4050-8B34-93F7DF5A7FB7}" srcOrd="7" destOrd="0" presId="urn:microsoft.com/office/officeart/2008/layout/HalfCircleOrganizationChart"/>
    <dgm:cxn modelId="{CFB74071-DCFE-4435-9383-DBBE2AB1D242}" type="presParOf" srcId="{42AEAAF9-53EC-4050-8B34-93F7DF5A7FB7}" destId="{D6EAD186-9204-411C-922D-86E0B0B3F644}" srcOrd="0" destOrd="0" presId="urn:microsoft.com/office/officeart/2008/layout/HalfCircleOrganizationChart"/>
    <dgm:cxn modelId="{60890B2B-599C-484E-AAAB-F5FC3B613536}" type="presParOf" srcId="{D6EAD186-9204-411C-922D-86E0B0B3F644}" destId="{5E08827F-A34F-403B-A99B-3BE3111735A2}" srcOrd="0" destOrd="0" presId="urn:microsoft.com/office/officeart/2008/layout/HalfCircleOrganizationChart"/>
    <dgm:cxn modelId="{C93C1305-E2A8-427F-B389-52BB0855C93F}" type="presParOf" srcId="{D6EAD186-9204-411C-922D-86E0B0B3F644}" destId="{317BA183-806E-485C-90E2-AB0D9179D46C}" srcOrd="1" destOrd="0" presId="urn:microsoft.com/office/officeart/2008/layout/HalfCircleOrganizationChart"/>
    <dgm:cxn modelId="{7B8CF011-F2D3-45FF-9447-95294FB9A365}" type="presParOf" srcId="{D6EAD186-9204-411C-922D-86E0B0B3F644}" destId="{27D6C95B-2966-4EB3-90EC-50CD4B6AC45D}" srcOrd="2" destOrd="0" presId="urn:microsoft.com/office/officeart/2008/layout/HalfCircleOrganizationChart"/>
    <dgm:cxn modelId="{6813CAB1-B33F-4C38-ADCB-C97FB0D0CE7A}" type="presParOf" srcId="{D6EAD186-9204-411C-922D-86E0B0B3F644}" destId="{66F3C54F-CC96-4108-9160-F4A72E0BD31C}" srcOrd="3" destOrd="0" presId="urn:microsoft.com/office/officeart/2008/layout/HalfCircleOrganizationChart"/>
    <dgm:cxn modelId="{A2B54FA3-9486-4ABD-A65B-CCBF636E12EF}" type="presParOf" srcId="{42AEAAF9-53EC-4050-8B34-93F7DF5A7FB7}" destId="{01BF87D0-52D5-4D88-8FE1-A186B76BB411}" srcOrd="1" destOrd="0" presId="urn:microsoft.com/office/officeart/2008/layout/HalfCircleOrganizationChart"/>
    <dgm:cxn modelId="{BAC5C621-A6B1-4883-878B-E44C9F1CFBEC}" type="presParOf" srcId="{42AEAAF9-53EC-4050-8B34-93F7DF5A7FB7}" destId="{18150C95-CF8D-4292-9AB8-A809EED323C3}" srcOrd="2" destOrd="0" presId="urn:microsoft.com/office/officeart/2008/layout/HalfCircleOrganizationChart"/>
    <dgm:cxn modelId="{580E5826-DA24-4E72-8F6E-87F09B4EFE77}" type="presParOf" srcId="{94EB2440-3008-4C11-879D-82B11EAE75FD}" destId="{AD161FC4-339A-427E-8BD1-0A6B823749AD}" srcOrd="8" destOrd="0" presId="urn:microsoft.com/office/officeart/2008/layout/HalfCircleOrganizationChart"/>
    <dgm:cxn modelId="{FA06DE4F-21E7-4AAE-9D98-CDD5CB776829}" type="presParOf" srcId="{94EB2440-3008-4C11-879D-82B11EAE75FD}" destId="{8465B0C8-67E9-47B1-808D-B6424740621F}" srcOrd="9" destOrd="0" presId="urn:microsoft.com/office/officeart/2008/layout/HalfCircleOrganizationChart"/>
    <dgm:cxn modelId="{0A6EEE2D-2481-4534-AF28-CAA5C41A798F}" type="presParOf" srcId="{8465B0C8-67E9-47B1-808D-B6424740621F}" destId="{D84DEE62-738D-41F0-B7BA-9734F3E7E499}" srcOrd="0" destOrd="0" presId="urn:microsoft.com/office/officeart/2008/layout/HalfCircleOrganizationChart"/>
    <dgm:cxn modelId="{5A6DAB3A-194A-44FD-8525-E6A9EF937C98}" type="presParOf" srcId="{D84DEE62-738D-41F0-B7BA-9734F3E7E499}" destId="{4D2B5425-2A77-43E8-8216-95A23F04E285}" srcOrd="0" destOrd="0" presId="urn:microsoft.com/office/officeart/2008/layout/HalfCircleOrganizationChart"/>
    <dgm:cxn modelId="{CA9CBAF2-90BE-4DD9-9591-09FB011C93B3}" type="presParOf" srcId="{D84DEE62-738D-41F0-B7BA-9734F3E7E499}" destId="{5C7DDCF2-B04D-422D-853F-B066755B9BFE}" srcOrd="1" destOrd="0" presId="urn:microsoft.com/office/officeart/2008/layout/HalfCircleOrganizationChart"/>
    <dgm:cxn modelId="{FCFA0C46-D3FB-4B1F-BDEE-A9D16D2AD973}" type="presParOf" srcId="{D84DEE62-738D-41F0-B7BA-9734F3E7E499}" destId="{9A87F75B-15D7-400C-A741-143787AC4C90}" srcOrd="2" destOrd="0" presId="urn:microsoft.com/office/officeart/2008/layout/HalfCircleOrganizationChart"/>
    <dgm:cxn modelId="{1F1F15E4-89C0-4FFE-9950-E62DD61CD086}" type="presParOf" srcId="{D84DEE62-738D-41F0-B7BA-9734F3E7E499}" destId="{99854BC1-B858-4EA4-B488-CC5E438F3E8C}" srcOrd="3" destOrd="0" presId="urn:microsoft.com/office/officeart/2008/layout/HalfCircleOrganizationChart"/>
    <dgm:cxn modelId="{FB34C303-8EB4-4E9C-BD72-04358B3D146B}" type="presParOf" srcId="{8465B0C8-67E9-47B1-808D-B6424740621F}" destId="{37572086-402E-42D4-AAEB-6A24BE7C6407}" srcOrd="1" destOrd="0" presId="urn:microsoft.com/office/officeart/2008/layout/HalfCircleOrganizationChart"/>
    <dgm:cxn modelId="{658D95E0-AB55-467F-B1FF-8564AF854B77}" type="presParOf" srcId="{37572086-402E-42D4-AAEB-6A24BE7C6407}" destId="{BDF3AB7C-F9F0-4669-8838-9608EA781EE8}" srcOrd="0" destOrd="0" presId="urn:microsoft.com/office/officeart/2008/layout/HalfCircleOrganizationChart"/>
    <dgm:cxn modelId="{FC734053-2DDF-49E5-92AB-B17D7886ECDD}" type="presParOf" srcId="{37572086-402E-42D4-AAEB-6A24BE7C6407}" destId="{D546BCDA-D158-4CAE-B3C8-DDBDEB605C5A}" srcOrd="1" destOrd="0" presId="urn:microsoft.com/office/officeart/2008/layout/HalfCircleOrganizationChart"/>
    <dgm:cxn modelId="{08672C8C-5A48-4C23-9D9F-F4B6550C2BFE}" type="presParOf" srcId="{D546BCDA-D158-4CAE-B3C8-DDBDEB605C5A}" destId="{18ACE824-44F2-4D85-A337-8A00A9FA9BDA}" srcOrd="0" destOrd="0" presId="urn:microsoft.com/office/officeart/2008/layout/HalfCircleOrganizationChart"/>
    <dgm:cxn modelId="{48CFA65D-A16F-494E-9D96-6A2EC3691006}" type="presParOf" srcId="{18ACE824-44F2-4D85-A337-8A00A9FA9BDA}" destId="{850A1B13-FCE7-4E3F-A8BB-7C1C9E77A8D3}" srcOrd="0" destOrd="0" presId="urn:microsoft.com/office/officeart/2008/layout/HalfCircleOrganizationChart"/>
    <dgm:cxn modelId="{071BF87D-07E0-4ECA-9180-B6CDDDF3FB1E}" type="presParOf" srcId="{18ACE824-44F2-4D85-A337-8A00A9FA9BDA}" destId="{0F432295-0480-46F7-BEAB-09E043442493}" srcOrd="1" destOrd="0" presId="urn:microsoft.com/office/officeart/2008/layout/HalfCircleOrganizationChart"/>
    <dgm:cxn modelId="{A6C3B812-FADB-437A-8597-2FA8B908BAA2}" type="presParOf" srcId="{18ACE824-44F2-4D85-A337-8A00A9FA9BDA}" destId="{B964EFD9-3CBC-43BA-93D5-1C7511544B15}" srcOrd="2" destOrd="0" presId="urn:microsoft.com/office/officeart/2008/layout/HalfCircleOrganizationChart"/>
    <dgm:cxn modelId="{DC279F08-3522-4C13-B4BE-665C25023458}" type="presParOf" srcId="{18ACE824-44F2-4D85-A337-8A00A9FA9BDA}" destId="{5BCA02DB-023A-4E85-86F9-573D0EB9C671}" srcOrd="3" destOrd="0" presId="urn:microsoft.com/office/officeart/2008/layout/HalfCircleOrganizationChart"/>
    <dgm:cxn modelId="{5885D7F0-F923-4782-9E5A-8C4884BE087F}" type="presParOf" srcId="{D546BCDA-D158-4CAE-B3C8-DDBDEB605C5A}" destId="{088C7353-F8FD-454F-99D6-7275A65611DA}" srcOrd="1" destOrd="0" presId="urn:microsoft.com/office/officeart/2008/layout/HalfCircleOrganizationChart"/>
    <dgm:cxn modelId="{CB7284A8-DE4C-46B6-8F86-5BC8E37AC53A}" type="presParOf" srcId="{D546BCDA-D158-4CAE-B3C8-DDBDEB605C5A}" destId="{5ED8C330-D23E-4747-8ABE-E248F2BF4BA0}" srcOrd="2" destOrd="0" presId="urn:microsoft.com/office/officeart/2008/layout/HalfCircleOrganizationChart"/>
    <dgm:cxn modelId="{4C713CE1-35DE-43B1-9AD6-8E77E0DE0089}" type="presParOf" srcId="{37572086-402E-42D4-AAEB-6A24BE7C6407}" destId="{AB89603D-5EC6-4BDF-8114-701F786F1504}" srcOrd="2" destOrd="0" presId="urn:microsoft.com/office/officeart/2008/layout/HalfCircleOrganizationChart"/>
    <dgm:cxn modelId="{0033EA92-F79E-4128-9DD3-576FCE724386}" type="presParOf" srcId="{37572086-402E-42D4-AAEB-6A24BE7C6407}" destId="{9F0783E8-94F6-4A31-BC93-6D82A228B297}" srcOrd="3" destOrd="0" presId="urn:microsoft.com/office/officeart/2008/layout/HalfCircleOrganizationChart"/>
    <dgm:cxn modelId="{4DCDCE12-AF1D-4394-AC0B-1A99ADAFF625}" type="presParOf" srcId="{9F0783E8-94F6-4A31-BC93-6D82A228B297}" destId="{D9B990E1-8183-405F-A414-D668B040247A}" srcOrd="0" destOrd="0" presId="urn:microsoft.com/office/officeart/2008/layout/HalfCircleOrganizationChart"/>
    <dgm:cxn modelId="{A245AB1C-0798-4AA4-B81E-CCC4DF365CC5}" type="presParOf" srcId="{D9B990E1-8183-405F-A414-D668B040247A}" destId="{1716140B-47DF-4F22-BAF3-66B827C9611D}" srcOrd="0" destOrd="0" presId="urn:microsoft.com/office/officeart/2008/layout/HalfCircleOrganizationChart"/>
    <dgm:cxn modelId="{83E58941-EFCF-4901-9EE1-D6262EC3983A}" type="presParOf" srcId="{D9B990E1-8183-405F-A414-D668B040247A}" destId="{5A1E2DBE-42A0-4D3C-AE9C-DB16FC7CE6DF}" srcOrd="1" destOrd="0" presId="urn:microsoft.com/office/officeart/2008/layout/HalfCircleOrganizationChart"/>
    <dgm:cxn modelId="{4C52C593-22B6-4F4B-BFA6-268A2715BF9A}" type="presParOf" srcId="{D9B990E1-8183-405F-A414-D668B040247A}" destId="{1E18774A-6039-4286-A07A-C6BC36D8A103}" srcOrd="2" destOrd="0" presId="urn:microsoft.com/office/officeart/2008/layout/HalfCircleOrganizationChart"/>
    <dgm:cxn modelId="{FCCAAFCF-23BA-44FB-AF2B-3822E538BD6A}" type="presParOf" srcId="{D9B990E1-8183-405F-A414-D668B040247A}" destId="{0F118039-21C0-4E1C-8CDB-928B8C0644BE}" srcOrd="3" destOrd="0" presId="urn:microsoft.com/office/officeart/2008/layout/HalfCircleOrganizationChart"/>
    <dgm:cxn modelId="{B26652D9-33A0-4F00-9039-842A2FA578EF}" type="presParOf" srcId="{9F0783E8-94F6-4A31-BC93-6D82A228B297}" destId="{8DDF45A1-48E9-47AA-B12A-5C79687638FC}" srcOrd="1" destOrd="0" presId="urn:microsoft.com/office/officeart/2008/layout/HalfCircleOrganizationChart"/>
    <dgm:cxn modelId="{52B0BE4F-839E-4095-AF9F-B4D0387C75CD}" type="presParOf" srcId="{9F0783E8-94F6-4A31-BC93-6D82A228B297}" destId="{2E6196FA-D08B-478C-A31A-25445BE3646A}" srcOrd="2" destOrd="0" presId="urn:microsoft.com/office/officeart/2008/layout/HalfCircleOrganizationChart"/>
    <dgm:cxn modelId="{CF8480DE-285A-4D46-989D-9CEAFD1D711E}" type="presParOf" srcId="{8465B0C8-67E9-47B1-808D-B6424740621F}" destId="{14C7282E-6E04-4C65-B142-6D4474199095}" srcOrd="2" destOrd="0" presId="urn:microsoft.com/office/officeart/2008/layout/HalfCircleOrganizationChart"/>
    <dgm:cxn modelId="{062CB4C8-6E24-4949-8BC4-70A4D19ADAAC}" type="presParOf" srcId="{94EB2440-3008-4C11-879D-82B11EAE75FD}" destId="{014D1F16-3A04-4121-9D70-B293E043DEEA}" srcOrd="10" destOrd="0" presId="urn:microsoft.com/office/officeart/2008/layout/HalfCircleOrganizationChart"/>
    <dgm:cxn modelId="{C8B90AA1-8E3C-44AB-A4A5-F02ADBF6393B}" type="presParOf" srcId="{94EB2440-3008-4C11-879D-82B11EAE75FD}" destId="{771C0C8D-86B9-4C11-9262-628EA461BEAC}" srcOrd="11" destOrd="0" presId="urn:microsoft.com/office/officeart/2008/layout/HalfCircleOrganizationChart"/>
    <dgm:cxn modelId="{029C574C-3F22-4E83-B6E3-E48EC57CECDD}" type="presParOf" srcId="{771C0C8D-86B9-4C11-9262-628EA461BEAC}" destId="{86118062-41E4-4ECB-88E7-D5916B42D911}" srcOrd="0" destOrd="0" presId="urn:microsoft.com/office/officeart/2008/layout/HalfCircleOrganizationChart"/>
    <dgm:cxn modelId="{D8F3663F-EAD1-413F-830A-685373AC19DE}" type="presParOf" srcId="{86118062-41E4-4ECB-88E7-D5916B42D911}" destId="{4DD22949-BF16-47C2-B258-9FEA5BA7185E}" srcOrd="0" destOrd="0" presId="urn:microsoft.com/office/officeart/2008/layout/HalfCircleOrganizationChart"/>
    <dgm:cxn modelId="{63FCAA92-B1A5-4543-8B21-DED6F5AB37CD}" type="presParOf" srcId="{86118062-41E4-4ECB-88E7-D5916B42D911}" destId="{207887E0-C3A9-4AF4-8C23-D480B49C1863}" srcOrd="1" destOrd="0" presId="urn:microsoft.com/office/officeart/2008/layout/HalfCircleOrganizationChart"/>
    <dgm:cxn modelId="{47E8EE06-D085-4B9C-B3A6-12593314ED09}" type="presParOf" srcId="{86118062-41E4-4ECB-88E7-D5916B42D911}" destId="{15EB1EF3-E230-4123-814E-7EA2C3F5CAE4}" srcOrd="2" destOrd="0" presId="urn:microsoft.com/office/officeart/2008/layout/HalfCircleOrganizationChart"/>
    <dgm:cxn modelId="{23C7EB0F-3787-4E7A-A760-6C85A8AB530C}" type="presParOf" srcId="{86118062-41E4-4ECB-88E7-D5916B42D911}" destId="{400DA229-1DFA-4C99-B21D-CE9F20CFE7C9}" srcOrd="3" destOrd="0" presId="urn:microsoft.com/office/officeart/2008/layout/HalfCircleOrganizationChart"/>
    <dgm:cxn modelId="{62DEC3FF-13FA-402E-BB77-71DA9831A554}" type="presParOf" srcId="{771C0C8D-86B9-4C11-9262-628EA461BEAC}" destId="{99FEA74F-A03C-4052-B2BA-650025663B21}" srcOrd="1" destOrd="0" presId="urn:microsoft.com/office/officeart/2008/layout/HalfCircleOrganizationChart"/>
    <dgm:cxn modelId="{F679B15E-8960-450B-8712-4EC0B0A4035B}" type="presParOf" srcId="{99FEA74F-A03C-4052-B2BA-650025663B21}" destId="{87EAFED3-23A6-414A-BB37-8C7115095EE3}" srcOrd="0" destOrd="0" presId="urn:microsoft.com/office/officeart/2008/layout/HalfCircleOrganizationChart"/>
    <dgm:cxn modelId="{17FD55D6-01AA-4F8E-98B2-BCF1252D8129}" type="presParOf" srcId="{99FEA74F-A03C-4052-B2BA-650025663B21}" destId="{F7B67471-ACED-4DDB-8491-3725B5F7AD3D}" srcOrd="1" destOrd="0" presId="urn:microsoft.com/office/officeart/2008/layout/HalfCircleOrganizationChart"/>
    <dgm:cxn modelId="{9637FAD8-CFE3-4497-A529-E5A92176DE76}" type="presParOf" srcId="{F7B67471-ACED-4DDB-8491-3725B5F7AD3D}" destId="{51A1B4ED-4A9B-4598-9AA0-7792D1257DA0}" srcOrd="0" destOrd="0" presId="urn:microsoft.com/office/officeart/2008/layout/HalfCircleOrganizationChart"/>
    <dgm:cxn modelId="{6DC4904A-D24D-4161-A670-14E71E20C02D}" type="presParOf" srcId="{51A1B4ED-4A9B-4598-9AA0-7792D1257DA0}" destId="{36FF5672-1FD8-4BFF-B69E-25ECCE46D1D5}" srcOrd="0" destOrd="0" presId="urn:microsoft.com/office/officeart/2008/layout/HalfCircleOrganizationChart"/>
    <dgm:cxn modelId="{F7ABFA86-285A-41E7-BBD1-4AE62C4D4880}" type="presParOf" srcId="{51A1B4ED-4A9B-4598-9AA0-7792D1257DA0}" destId="{A7155751-1F83-4DBD-834B-0B060B61E18C}" srcOrd="1" destOrd="0" presId="urn:microsoft.com/office/officeart/2008/layout/HalfCircleOrganizationChart"/>
    <dgm:cxn modelId="{92DC6688-8463-405A-80D4-2204B913A33C}" type="presParOf" srcId="{51A1B4ED-4A9B-4598-9AA0-7792D1257DA0}" destId="{AC0F522C-15CC-4F96-87B0-0C5B6FB3012D}" srcOrd="2" destOrd="0" presId="urn:microsoft.com/office/officeart/2008/layout/HalfCircleOrganizationChart"/>
    <dgm:cxn modelId="{900C5398-8E7A-47CC-B24E-0E6802924A1F}" type="presParOf" srcId="{51A1B4ED-4A9B-4598-9AA0-7792D1257DA0}" destId="{AC41A8D8-67D6-4302-AE82-54AC245279F7}" srcOrd="3" destOrd="0" presId="urn:microsoft.com/office/officeart/2008/layout/HalfCircleOrganizationChart"/>
    <dgm:cxn modelId="{1B582B33-4FEB-4365-855A-07087FC3C5B8}" type="presParOf" srcId="{F7B67471-ACED-4DDB-8491-3725B5F7AD3D}" destId="{3F220563-2AE2-45ED-B351-F83F4B70BA2E}" srcOrd="1" destOrd="0" presId="urn:microsoft.com/office/officeart/2008/layout/HalfCircleOrganizationChart"/>
    <dgm:cxn modelId="{D8BE7B53-5BE5-41B0-BAB0-1E1B098D0C5C}" type="presParOf" srcId="{F7B67471-ACED-4DDB-8491-3725B5F7AD3D}" destId="{4842CCDC-8CC2-4A67-A757-93907886A573}" srcOrd="2" destOrd="0" presId="urn:microsoft.com/office/officeart/2008/layout/HalfCircleOrganizationChart"/>
    <dgm:cxn modelId="{9C1B1C89-E1F3-4CBB-B71B-FB2E076C46FE}" type="presParOf" srcId="{771C0C8D-86B9-4C11-9262-628EA461BEAC}" destId="{7B40A9B1-D74D-451B-B367-AAB4720B4884}" srcOrd="2" destOrd="0" presId="urn:microsoft.com/office/officeart/2008/layout/HalfCircleOrganizationChart"/>
    <dgm:cxn modelId="{814F55F3-6DEF-41AD-BD68-63802A408EE2}" type="presParOf" srcId="{4A1F987C-3ED3-472E-9123-5E1E5F6EB39A}" destId="{7D1AB1CA-7D4A-4672-9F0F-E2AC27BED11D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EAFED3-23A6-414A-BB37-8C7115095EE3}">
      <dsp:nvSpPr>
        <dsp:cNvPr id="0" name=""/>
        <dsp:cNvSpPr/>
      </dsp:nvSpPr>
      <dsp:spPr>
        <a:xfrm>
          <a:off x="8750134" y="3288741"/>
          <a:ext cx="614463" cy="4007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0737"/>
              </a:lnTo>
              <a:lnTo>
                <a:pt x="614463" y="400737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4D1F16-3A04-4121-9D70-B293E043DEEA}">
      <dsp:nvSpPr>
        <dsp:cNvPr id="0" name=""/>
        <dsp:cNvSpPr/>
      </dsp:nvSpPr>
      <dsp:spPr>
        <a:xfrm>
          <a:off x="4709368" y="2340330"/>
          <a:ext cx="4040766" cy="280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258"/>
              </a:lnTo>
              <a:lnTo>
                <a:pt x="4040766" y="140258"/>
              </a:lnTo>
              <a:lnTo>
                <a:pt x="4040766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89603D-5EC6-4BDF-8114-701F786F1504}">
      <dsp:nvSpPr>
        <dsp:cNvPr id="0" name=""/>
        <dsp:cNvSpPr/>
      </dsp:nvSpPr>
      <dsp:spPr>
        <a:xfrm>
          <a:off x="7133827" y="3288741"/>
          <a:ext cx="614463" cy="13491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9148"/>
              </a:lnTo>
              <a:lnTo>
                <a:pt x="614463" y="1349148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F3AB7C-F9F0-4669-8838-9608EA781EE8}">
      <dsp:nvSpPr>
        <dsp:cNvPr id="0" name=""/>
        <dsp:cNvSpPr/>
      </dsp:nvSpPr>
      <dsp:spPr>
        <a:xfrm>
          <a:off x="7133827" y="3288741"/>
          <a:ext cx="614463" cy="4007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0737"/>
              </a:lnTo>
              <a:lnTo>
                <a:pt x="614463" y="400737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161FC4-339A-427E-8BD1-0A6B823749AD}">
      <dsp:nvSpPr>
        <dsp:cNvPr id="0" name=""/>
        <dsp:cNvSpPr/>
      </dsp:nvSpPr>
      <dsp:spPr>
        <a:xfrm>
          <a:off x="4709368" y="2340330"/>
          <a:ext cx="2424459" cy="280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258"/>
              </a:lnTo>
              <a:lnTo>
                <a:pt x="2424459" y="140258"/>
              </a:lnTo>
              <a:lnTo>
                <a:pt x="2424459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0344E9-26EB-4890-A574-DFFFAC9B663E}">
      <dsp:nvSpPr>
        <dsp:cNvPr id="0" name=""/>
        <dsp:cNvSpPr/>
      </dsp:nvSpPr>
      <dsp:spPr>
        <a:xfrm>
          <a:off x="4709368" y="2340330"/>
          <a:ext cx="808153" cy="280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258"/>
              </a:lnTo>
              <a:lnTo>
                <a:pt x="808153" y="140258"/>
              </a:lnTo>
              <a:lnTo>
                <a:pt x="808153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8EADEB-CF60-4B19-A8BB-3E7D63D248A7}">
      <dsp:nvSpPr>
        <dsp:cNvPr id="0" name=""/>
        <dsp:cNvSpPr/>
      </dsp:nvSpPr>
      <dsp:spPr>
        <a:xfrm>
          <a:off x="3901214" y="3288741"/>
          <a:ext cx="614463" cy="4007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0737"/>
              </a:lnTo>
              <a:lnTo>
                <a:pt x="614463" y="400737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DC3A2B-F898-4912-B569-A266F0F37EFE}">
      <dsp:nvSpPr>
        <dsp:cNvPr id="0" name=""/>
        <dsp:cNvSpPr/>
      </dsp:nvSpPr>
      <dsp:spPr>
        <a:xfrm>
          <a:off x="3901214" y="2340330"/>
          <a:ext cx="808153" cy="280516"/>
        </a:xfrm>
        <a:custGeom>
          <a:avLst/>
          <a:gdLst/>
          <a:ahLst/>
          <a:cxnLst/>
          <a:rect l="0" t="0" r="0" b="0"/>
          <a:pathLst>
            <a:path>
              <a:moveTo>
                <a:pt x="808153" y="0"/>
              </a:moveTo>
              <a:lnTo>
                <a:pt x="808153" y="140258"/>
              </a:lnTo>
              <a:lnTo>
                <a:pt x="0" y="140258"/>
              </a:lnTo>
              <a:lnTo>
                <a:pt x="0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0324A2-9B53-814B-AFCB-C9A752F5254B}">
      <dsp:nvSpPr>
        <dsp:cNvPr id="0" name=""/>
        <dsp:cNvSpPr/>
      </dsp:nvSpPr>
      <dsp:spPr>
        <a:xfrm>
          <a:off x="2284908" y="2340330"/>
          <a:ext cx="2424459" cy="280516"/>
        </a:xfrm>
        <a:custGeom>
          <a:avLst/>
          <a:gdLst/>
          <a:ahLst/>
          <a:cxnLst/>
          <a:rect l="0" t="0" r="0" b="0"/>
          <a:pathLst>
            <a:path>
              <a:moveTo>
                <a:pt x="2424459" y="0"/>
              </a:moveTo>
              <a:lnTo>
                <a:pt x="2424459" y="140258"/>
              </a:lnTo>
              <a:lnTo>
                <a:pt x="0" y="140258"/>
              </a:lnTo>
              <a:lnTo>
                <a:pt x="0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5266ED-4D93-A34D-9997-35453731ED44}">
      <dsp:nvSpPr>
        <dsp:cNvPr id="0" name=""/>
        <dsp:cNvSpPr/>
      </dsp:nvSpPr>
      <dsp:spPr>
        <a:xfrm>
          <a:off x="668601" y="3288741"/>
          <a:ext cx="614463" cy="4007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0737"/>
              </a:lnTo>
              <a:lnTo>
                <a:pt x="614463" y="400737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EF868A-836F-4D40-A183-6515D1E2DD65}">
      <dsp:nvSpPr>
        <dsp:cNvPr id="0" name=""/>
        <dsp:cNvSpPr/>
      </dsp:nvSpPr>
      <dsp:spPr>
        <a:xfrm>
          <a:off x="668601" y="2340330"/>
          <a:ext cx="4040766" cy="280516"/>
        </a:xfrm>
        <a:custGeom>
          <a:avLst/>
          <a:gdLst/>
          <a:ahLst/>
          <a:cxnLst/>
          <a:rect l="0" t="0" r="0" b="0"/>
          <a:pathLst>
            <a:path>
              <a:moveTo>
                <a:pt x="4040766" y="0"/>
              </a:moveTo>
              <a:lnTo>
                <a:pt x="4040766" y="140258"/>
              </a:lnTo>
              <a:lnTo>
                <a:pt x="0" y="140258"/>
              </a:lnTo>
              <a:lnTo>
                <a:pt x="0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FE98E3-D9CD-435F-A041-968066283D01}">
      <dsp:nvSpPr>
        <dsp:cNvPr id="0" name=""/>
        <dsp:cNvSpPr/>
      </dsp:nvSpPr>
      <dsp:spPr>
        <a:xfrm>
          <a:off x="4375420" y="1672435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E8766F-20C0-4E87-8749-738564E04CB7}">
      <dsp:nvSpPr>
        <dsp:cNvPr id="0" name=""/>
        <dsp:cNvSpPr/>
      </dsp:nvSpPr>
      <dsp:spPr>
        <a:xfrm>
          <a:off x="4375420" y="1672435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1157D-4611-42E9-BD04-E3431F98ECEB}">
      <dsp:nvSpPr>
        <dsp:cNvPr id="0" name=""/>
        <dsp:cNvSpPr/>
      </dsp:nvSpPr>
      <dsp:spPr>
        <a:xfrm>
          <a:off x="4041472" y="1792656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Web</a:t>
          </a:r>
          <a:endParaRPr lang="en-GB" sz="2400" kern="1200" dirty="0"/>
        </a:p>
      </dsp:txBody>
      <dsp:txXfrm>
        <a:off x="4041472" y="1792656"/>
        <a:ext cx="1335790" cy="427452"/>
      </dsp:txXfrm>
    </dsp:sp>
    <dsp:sp modelId="{2B4592C0-9788-4A50-B517-6A54EA34E84A}">
      <dsp:nvSpPr>
        <dsp:cNvPr id="0" name=""/>
        <dsp:cNvSpPr/>
      </dsp:nvSpPr>
      <dsp:spPr>
        <a:xfrm>
          <a:off x="334653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DDCA98-ED92-46A8-9B8C-45F32A339262}">
      <dsp:nvSpPr>
        <dsp:cNvPr id="0" name=""/>
        <dsp:cNvSpPr/>
      </dsp:nvSpPr>
      <dsp:spPr>
        <a:xfrm>
          <a:off x="334653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DB9E12-7298-4554-AC15-2FEFA28F99B9}">
      <dsp:nvSpPr>
        <dsp:cNvPr id="0" name=""/>
        <dsp:cNvSpPr/>
      </dsp:nvSpPr>
      <dsp:spPr>
        <a:xfrm>
          <a:off x="706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Ratings</a:t>
          </a:r>
          <a:endParaRPr lang="en-GB" sz="2400" kern="1200" dirty="0"/>
        </a:p>
      </dsp:txBody>
      <dsp:txXfrm>
        <a:off x="706" y="2741067"/>
        <a:ext cx="1335790" cy="427452"/>
      </dsp:txXfrm>
    </dsp:sp>
    <dsp:sp modelId="{9104AEAE-0B12-8245-934A-C619B754FEDC}">
      <dsp:nvSpPr>
        <dsp:cNvPr id="0" name=""/>
        <dsp:cNvSpPr/>
      </dsp:nvSpPr>
      <dsp:spPr>
        <a:xfrm>
          <a:off x="1202917" y="3569258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69CFF2-D046-194F-93F1-232D01B120CF}">
      <dsp:nvSpPr>
        <dsp:cNvPr id="0" name=""/>
        <dsp:cNvSpPr/>
      </dsp:nvSpPr>
      <dsp:spPr>
        <a:xfrm>
          <a:off x="1202917" y="3569258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D47ABF-1A8E-8043-92C5-9CF6DA28FF95}">
      <dsp:nvSpPr>
        <dsp:cNvPr id="0" name=""/>
        <dsp:cNvSpPr/>
      </dsp:nvSpPr>
      <dsp:spPr>
        <a:xfrm>
          <a:off x="868970" y="3689479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MySQL</a:t>
          </a:r>
        </a:p>
      </dsp:txBody>
      <dsp:txXfrm>
        <a:off x="868970" y="3689479"/>
        <a:ext cx="1335790" cy="427452"/>
      </dsp:txXfrm>
    </dsp:sp>
    <dsp:sp modelId="{FE846FB7-FF5D-8F44-9B7B-6D260193238E}">
      <dsp:nvSpPr>
        <dsp:cNvPr id="0" name=""/>
        <dsp:cNvSpPr/>
      </dsp:nvSpPr>
      <dsp:spPr>
        <a:xfrm>
          <a:off x="1950960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CD95FC-D3AD-024E-BF65-3AAB6734F5E2}">
      <dsp:nvSpPr>
        <dsp:cNvPr id="0" name=""/>
        <dsp:cNvSpPr/>
      </dsp:nvSpPr>
      <dsp:spPr>
        <a:xfrm>
          <a:off x="1950960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7EC81-962F-5A47-BD05-EED64D9CAC85}">
      <dsp:nvSpPr>
        <dsp:cNvPr id="0" name=""/>
        <dsp:cNvSpPr/>
      </dsp:nvSpPr>
      <dsp:spPr>
        <a:xfrm>
          <a:off x="1617012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Shipping</a:t>
          </a:r>
        </a:p>
      </dsp:txBody>
      <dsp:txXfrm>
        <a:off x="1617012" y="2741067"/>
        <a:ext cx="1335790" cy="427452"/>
      </dsp:txXfrm>
    </dsp:sp>
    <dsp:sp modelId="{320D484A-62CF-4014-9136-57B263F224F0}">
      <dsp:nvSpPr>
        <dsp:cNvPr id="0" name=""/>
        <dsp:cNvSpPr/>
      </dsp:nvSpPr>
      <dsp:spPr>
        <a:xfrm>
          <a:off x="3567267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1E759D-DC3B-4B07-8063-9E2C0632F98A}">
      <dsp:nvSpPr>
        <dsp:cNvPr id="0" name=""/>
        <dsp:cNvSpPr/>
      </dsp:nvSpPr>
      <dsp:spPr>
        <a:xfrm>
          <a:off x="3567267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01280A-F87A-47FC-A4CA-41A207539AD2}">
      <dsp:nvSpPr>
        <dsp:cNvPr id="0" name=""/>
        <dsp:cNvSpPr/>
      </dsp:nvSpPr>
      <dsp:spPr>
        <a:xfrm>
          <a:off x="3233319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Catalogue</a:t>
          </a:r>
          <a:endParaRPr lang="en-GB" sz="2400" kern="1200" dirty="0"/>
        </a:p>
      </dsp:txBody>
      <dsp:txXfrm>
        <a:off x="3233319" y="2741067"/>
        <a:ext cx="1335790" cy="427452"/>
      </dsp:txXfrm>
    </dsp:sp>
    <dsp:sp modelId="{CF1D7A04-7A12-4286-8443-785F5592614C}">
      <dsp:nvSpPr>
        <dsp:cNvPr id="0" name=""/>
        <dsp:cNvSpPr/>
      </dsp:nvSpPr>
      <dsp:spPr>
        <a:xfrm>
          <a:off x="4435531" y="3569258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328BB3-FFEB-4306-80EB-2F6F645D9AF3}">
      <dsp:nvSpPr>
        <dsp:cNvPr id="0" name=""/>
        <dsp:cNvSpPr/>
      </dsp:nvSpPr>
      <dsp:spPr>
        <a:xfrm>
          <a:off x="4435531" y="3569258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7A9502-537C-4114-9BFC-9A2EBD525A6D}">
      <dsp:nvSpPr>
        <dsp:cNvPr id="0" name=""/>
        <dsp:cNvSpPr/>
      </dsp:nvSpPr>
      <dsp:spPr>
        <a:xfrm>
          <a:off x="4101583" y="3689479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MongoDB</a:t>
          </a:r>
          <a:endParaRPr lang="en-GB" sz="2400" kern="1200" dirty="0"/>
        </a:p>
      </dsp:txBody>
      <dsp:txXfrm>
        <a:off x="4101583" y="3689479"/>
        <a:ext cx="1335790" cy="427452"/>
      </dsp:txXfrm>
    </dsp:sp>
    <dsp:sp modelId="{317BA183-806E-485C-90E2-AB0D9179D46C}">
      <dsp:nvSpPr>
        <dsp:cNvPr id="0" name=""/>
        <dsp:cNvSpPr/>
      </dsp:nvSpPr>
      <dsp:spPr>
        <a:xfrm>
          <a:off x="5183573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D6C95B-2966-4EB3-90EC-50CD4B6AC45D}">
      <dsp:nvSpPr>
        <dsp:cNvPr id="0" name=""/>
        <dsp:cNvSpPr/>
      </dsp:nvSpPr>
      <dsp:spPr>
        <a:xfrm>
          <a:off x="5183573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08827F-A34F-403B-A99B-3BE3111735A2}">
      <dsp:nvSpPr>
        <dsp:cNvPr id="0" name=""/>
        <dsp:cNvSpPr/>
      </dsp:nvSpPr>
      <dsp:spPr>
        <a:xfrm>
          <a:off x="4849626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User</a:t>
          </a:r>
          <a:endParaRPr lang="en-GB" sz="2400" kern="1200" dirty="0"/>
        </a:p>
      </dsp:txBody>
      <dsp:txXfrm>
        <a:off x="4849626" y="2741067"/>
        <a:ext cx="1335790" cy="427452"/>
      </dsp:txXfrm>
    </dsp:sp>
    <dsp:sp modelId="{5C7DDCF2-B04D-422D-853F-B066755B9BFE}">
      <dsp:nvSpPr>
        <dsp:cNvPr id="0" name=""/>
        <dsp:cNvSpPr/>
      </dsp:nvSpPr>
      <dsp:spPr>
        <a:xfrm>
          <a:off x="6799880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87F75B-15D7-400C-A741-143787AC4C90}">
      <dsp:nvSpPr>
        <dsp:cNvPr id="0" name=""/>
        <dsp:cNvSpPr/>
      </dsp:nvSpPr>
      <dsp:spPr>
        <a:xfrm>
          <a:off x="6799880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2B5425-2A77-43E8-8216-95A23F04E285}">
      <dsp:nvSpPr>
        <dsp:cNvPr id="0" name=""/>
        <dsp:cNvSpPr/>
      </dsp:nvSpPr>
      <dsp:spPr>
        <a:xfrm>
          <a:off x="6465932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Payment</a:t>
          </a:r>
          <a:endParaRPr lang="en-GB" sz="2400" kern="1200" dirty="0"/>
        </a:p>
      </dsp:txBody>
      <dsp:txXfrm>
        <a:off x="6465932" y="2741067"/>
        <a:ext cx="1335790" cy="427452"/>
      </dsp:txXfrm>
    </dsp:sp>
    <dsp:sp modelId="{0F432295-0480-46F7-BEAB-09E043442493}">
      <dsp:nvSpPr>
        <dsp:cNvPr id="0" name=""/>
        <dsp:cNvSpPr/>
      </dsp:nvSpPr>
      <dsp:spPr>
        <a:xfrm>
          <a:off x="7668144" y="3569258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64EFD9-3CBC-43BA-93D5-1C7511544B15}">
      <dsp:nvSpPr>
        <dsp:cNvPr id="0" name=""/>
        <dsp:cNvSpPr/>
      </dsp:nvSpPr>
      <dsp:spPr>
        <a:xfrm>
          <a:off x="7668144" y="3569258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0A1B13-FCE7-4E3F-A8BB-7C1C9E77A8D3}">
      <dsp:nvSpPr>
        <dsp:cNvPr id="0" name=""/>
        <dsp:cNvSpPr/>
      </dsp:nvSpPr>
      <dsp:spPr>
        <a:xfrm>
          <a:off x="7334196" y="3689479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Dispatch</a:t>
          </a:r>
          <a:endParaRPr lang="en-GB" sz="2400" kern="1200" dirty="0"/>
        </a:p>
      </dsp:txBody>
      <dsp:txXfrm>
        <a:off x="7334196" y="3689479"/>
        <a:ext cx="1335790" cy="427452"/>
      </dsp:txXfrm>
    </dsp:sp>
    <dsp:sp modelId="{5A1E2DBE-42A0-4D3C-AE9C-DB16FC7CE6DF}">
      <dsp:nvSpPr>
        <dsp:cNvPr id="0" name=""/>
        <dsp:cNvSpPr/>
      </dsp:nvSpPr>
      <dsp:spPr>
        <a:xfrm>
          <a:off x="7668144" y="4517669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18774A-6039-4286-A07A-C6BC36D8A103}">
      <dsp:nvSpPr>
        <dsp:cNvPr id="0" name=""/>
        <dsp:cNvSpPr/>
      </dsp:nvSpPr>
      <dsp:spPr>
        <a:xfrm>
          <a:off x="7668144" y="4517669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16140B-47DF-4F22-BAF3-66B827C9611D}">
      <dsp:nvSpPr>
        <dsp:cNvPr id="0" name=""/>
        <dsp:cNvSpPr/>
      </dsp:nvSpPr>
      <dsp:spPr>
        <a:xfrm>
          <a:off x="7334196" y="4637890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RabbitMQ</a:t>
          </a:r>
          <a:endParaRPr lang="en-GB" sz="2400" kern="1200" dirty="0"/>
        </a:p>
      </dsp:txBody>
      <dsp:txXfrm>
        <a:off x="7334196" y="4637890"/>
        <a:ext cx="1335790" cy="427452"/>
      </dsp:txXfrm>
    </dsp:sp>
    <dsp:sp modelId="{207887E0-C3A9-4AF4-8C23-D480B49C1863}">
      <dsp:nvSpPr>
        <dsp:cNvPr id="0" name=""/>
        <dsp:cNvSpPr/>
      </dsp:nvSpPr>
      <dsp:spPr>
        <a:xfrm>
          <a:off x="8416186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EB1EF3-E230-4123-814E-7EA2C3F5CAE4}">
      <dsp:nvSpPr>
        <dsp:cNvPr id="0" name=""/>
        <dsp:cNvSpPr/>
      </dsp:nvSpPr>
      <dsp:spPr>
        <a:xfrm>
          <a:off x="8416186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D22949-BF16-47C2-B258-9FEA5BA7185E}">
      <dsp:nvSpPr>
        <dsp:cNvPr id="0" name=""/>
        <dsp:cNvSpPr/>
      </dsp:nvSpPr>
      <dsp:spPr>
        <a:xfrm>
          <a:off x="8082239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Cart</a:t>
          </a:r>
          <a:endParaRPr lang="en-GB" sz="2400" kern="1200" dirty="0"/>
        </a:p>
      </dsp:txBody>
      <dsp:txXfrm>
        <a:off x="8082239" y="2741067"/>
        <a:ext cx="1335790" cy="427452"/>
      </dsp:txXfrm>
    </dsp:sp>
    <dsp:sp modelId="{A7155751-1F83-4DBD-834B-0B060B61E18C}">
      <dsp:nvSpPr>
        <dsp:cNvPr id="0" name=""/>
        <dsp:cNvSpPr/>
      </dsp:nvSpPr>
      <dsp:spPr>
        <a:xfrm>
          <a:off x="9284450" y="3569258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0F522C-15CC-4F96-87B0-0C5B6FB3012D}">
      <dsp:nvSpPr>
        <dsp:cNvPr id="0" name=""/>
        <dsp:cNvSpPr/>
      </dsp:nvSpPr>
      <dsp:spPr>
        <a:xfrm>
          <a:off x="9284450" y="3569258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FF5672-1FD8-4BFF-B69E-25ECCE46D1D5}">
      <dsp:nvSpPr>
        <dsp:cNvPr id="0" name=""/>
        <dsp:cNvSpPr/>
      </dsp:nvSpPr>
      <dsp:spPr>
        <a:xfrm>
          <a:off x="8950503" y="3689479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Redis</a:t>
          </a:r>
          <a:endParaRPr lang="en-GB" sz="2400" kern="1200" dirty="0"/>
        </a:p>
      </dsp:txBody>
      <dsp:txXfrm>
        <a:off x="8950503" y="3689479"/>
        <a:ext cx="1335790" cy="4274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ADDFF9-F8A6-4A76-B9A6-82F10A40B9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DDC134-0B22-4E6A-A357-AEA2CC414E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BF1DA0-59F9-4EA9-B682-DF5427872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2A377-21D2-470D-BE2E-AA9DEDA6F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4253A2-09E4-4CB6-9229-DCFD6E459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143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11834-312E-4A2A-9F07-C80A612D6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B9F6ABA-78D7-4322-8B34-AAC04136A2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33758A6-E393-437F-A03D-3A66341DD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A01420-A091-46DC-A27E-3352A3482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C84A17-24E2-47FC-8739-1236C6A7A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8078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2C31178-8D45-4027-93C0-090D643F80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25C6CB8-3335-4909-9C24-5B53D8D8D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64A562C-A252-4076-865A-E8BC82F5C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F8D0CE-051D-4087-8875-FE3C07113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9C51AE-B121-4956-AEB3-80DE993CA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307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7A866-E195-4941-802B-8A29FAA66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C2C70BB-248B-45BC-AEE4-BD683C13D2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B0DDE3-81E7-4DC6-BD82-0140DCD826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5C07446-FF76-4FF8-AAD1-BFF9EDC9F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44391F-C812-4000-8E07-E97BEFF13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453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1E03E-2440-4F74-8F10-5DEB026D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C91F9E1-C235-46D3-A5D7-E1A4CAAB66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B8FB2B2-A700-48C7-8A61-9D84DB7DCC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B77AF7-CDC7-414F-99ED-EBF6D251B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0354BF-5D26-40D5-B37B-8F173EC7B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5780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149DC-782A-4714-BAB3-B7EFC8B78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8DACA7-9C56-443C-ACB8-0D47B5A005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8E855D1-E13F-4D8D-A127-1DFA89A74A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84CA5D-E6E1-40BD-8414-3A698389DB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215DC2-5C16-4987-8462-83918790A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FA00CC-7766-4AC3-9C6C-E436156BE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0586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036B6-347F-4CD7-B317-5600B7B84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53E1DDF-F314-47FF-BBC6-300F7A23D8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6337643-3008-4DFB-A4C5-18D3C9ECFA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A3241D8-074E-4AC5-ACEA-11E8DBFF51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635FC5B-7F05-4E85-B0BF-4AEDC4CB05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D2103E9-1032-44AC-A2BE-888720F085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D8F3210-90FC-4F1D-999C-FDC71A830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9EAFDB-2BB5-4734-BB18-BEE34E8AE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3977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7A96-101A-4108-9656-A5BB3F74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899E69-CC9D-486C-A78C-6BD7C811F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AB73B5-CA82-4BCE-A24F-1219FA4E1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DEA3F88-7F2A-435B-BFAB-9666A1373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680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F90DEEA-AD0F-4DA4-AEF6-15DE849D78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584508-A937-4CF2-8CDA-3638179CA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68C1F9-9742-4646-BC35-5632DAB58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1109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D0FACD-1EF5-4BBD-AE59-130CAB1F8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967F0B-0EBC-49A4-9452-42B0DFD43A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17B6E67-79E3-40DC-92A3-6B9AF45531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6871F3B-5FC8-4902-A6FD-8FD1F80651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FE95FE-55A5-4E97-ABF4-7B20353A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231FC0-3684-4137-8FD3-4253DE821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5239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95EF89-2D3C-42FD-8038-ABBE6E37F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4D7830E-439B-4B48-B7FF-5FB06E5C02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14B4982-FB6F-4128-B504-D6F05E0012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E63C0F-B425-4D3D-AFD5-5251220CC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F91FD1-8FC1-42A1-B718-272A60743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D1BC0A8-49A6-4CBA-B85D-9F7163CB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1771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A18D3B3-5CBC-4174-94F8-600B5DE9F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447CE8-7577-4A0E-8FAD-9C8D3047E8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EB6E05-58FE-4972-87D7-6FD9825E22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09A021-C8ED-4A5C-890C-0A045B16B947}" type="datetimeFigureOut">
              <a:rPr lang="de-DE" smtClean="0"/>
              <a:t>18.02.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2F38A9-9E3B-43BA-99E4-3E7A4FA0D5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DF02F8-0676-4358-A564-7DDC52168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4531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2.pn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.png"/><Relationship Id="rId7" Type="http://schemas.openxmlformats.org/officeDocument/2006/relationships/image" Target="../media/image1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4.svg"/><Relationship Id="rId4" Type="http://schemas.openxmlformats.org/officeDocument/2006/relationships/image" Target="../media/image3.png"/><Relationship Id="rId9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5DB76DA0-20DE-4E59-8B20-5A239B7A99A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718" y="4740450"/>
            <a:ext cx="1035182" cy="103518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9366DB1-3600-49BF-B4E9-5E0618B42AF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937" y="2317737"/>
            <a:ext cx="1035183" cy="1035183"/>
          </a:xfrm>
          <a:prstGeom prst="rect">
            <a:avLst/>
          </a:prstGeom>
        </p:spPr>
      </p:pic>
      <p:pic>
        <p:nvPicPr>
          <p:cNvPr id="23" name="Grafik 22" descr="Internet">
            <a:extLst>
              <a:ext uri="{FF2B5EF4-FFF2-40B4-BE49-F238E27FC236}">
                <a16:creationId xmlns:a16="http://schemas.microsoft.com/office/drawing/2014/main" id="{DFBFA669-97A8-45BB-9887-0066F16F4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66348" y="4734769"/>
            <a:ext cx="1035183" cy="1035183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450E1619-0B4D-45E8-8B4D-1B69BF89B087}"/>
              </a:ext>
            </a:extLst>
          </p:cNvPr>
          <p:cNvSpPr txBox="1"/>
          <p:nvPr/>
        </p:nvSpPr>
        <p:spPr>
          <a:xfrm>
            <a:off x="2355621" y="1083802"/>
            <a:ext cx="5738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start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AA44258-3B33-43B7-AC4D-94142CDAB65E}"/>
              </a:ext>
            </a:extLst>
          </p:cNvPr>
          <p:cNvSpPr txBox="1"/>
          <p:nvPr/>
        </p:nvSpPr>
        <p:spPr>
          <a:xfrm>
            <a:off x="3827599" y="1364764"/>
            <a:ext cx="12458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Benchmark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7FCC1E7-2BB9-4E8C-AC3B-A45FB57AD2F7}"/>
              </a:ext>
            </a:extLst>
          </p:cNvPr>
          <p:cNvSpPr txBox="1"/>
          <p:nvPr/>
        </p:nvSpPr>
        <p:spPr>
          <a:xfrm>
            <a:off x="1713897" y="3226520"/>
            <a:ext cx="7880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CC4C03"/>
                </a:solidFill>
              </a:rPr>
              <a:t>Locust</a:t>
            </a:r>
            <a:endParaRPr lang="de-DE" dirty="0">
              <a:solidFill>
                <a:srgbClr val="CC4C03"/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28AD6633-3E28-439E-BBA2-F027CE4C5BEF}"/>
              </a:ext>
            </a:extLst>
          </p:cNvPr>
          <p:cNvSpPr txBox="1"/>
          <p:nvPr/>
        </p:nvSpPr>
        <p:spPr>
          <a:xfrm>
            <a:off x="3819786" y="3226520"/>
            <a:ext cx="1325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Prometheus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AD7B7BA-2848-4571-ABED-434685C15A99}"/>
              </a:ext>
            </a:extLst>
          </p:cNvPr>
          <p:cNvSpPr txBox="1"/>
          <p:nvPr/>
        </p:nvSpPr>
        <p:spPr>
          <a:xfrm>
            <a:off x="1378336" y="5721384"/>
            <a:ext cx="1388526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Microservice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CB36DD8-50E3-414C-99B7-110FD1FFD6AB}"/>
              </a:ext>
            </a:extLst>
          </p:cNvPr>
          <p:cNvSpPr txBox="1"/>
          <p:nvPr/>
        </p:nvSpPr>
        <p:spPr>
          <a:xfrm>
            <a:off x="3842220" y="5721385"/>
            <a:ext cx="1256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Kubernetes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F196B3C1-D4E1-4142-8151-2E737B6206F8}"/>
              </a:ext>
            </a:extLst>
          </p:cNvPr>
          <p:cNvSpPr txBox="1"/>
          <p:nvPr/>
        </p:nvSpPr>
        <p:spPr>
          <a:xfrm>
            <a:off x="2994269" y="4948798"/>
            <a:ext cx="7364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deploy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47793985-A8EE-45F5-8DCF-106047B1D4E9}"/>
              </a:ext>
            </a:extLst>
          </p:cNvPr>
          <p:cNvSpPr txBox="1"/>
          <p:nvPr/>
        </p:nvSpPr>
        <p:spPr>
          <a:xfrm>
            <a:off x="2103911" y="3893182"/>
            <a:ext cx="754053" cy="5847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load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testing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7" name="Grafik 106" descr="Dokument">
            <a:extLst>
              <a:ext uri="{FF2B5EF4-FFF2-40B4-BE49-F238E27FC236}">
                <a16:creationId xmlns:a16="http://schemas.microsoft.com/office/drawing/2014/main" id="{12B0844C-87A4-43E9-9ED9-4EFC70D15F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56459" y="341577"/>
            <a:ext cx="1035181" cy="1035181"/>
          </a:xfrm>
          <a:prstGeom prst="rect">
            <a:avLst/>
          </a:prstGeom>
        </p:spPr>
      </p:pic>
      <p:sp>
        <p:nvSpPr>
          <p:cNvPr id="108" name="Textfeld 107">
            <a:extLst>
              <a:ext uri="{FF2B5EF4-FFF2-40B4-BE49-F238E27FC236}">
                <a16:creationId xmlns:a16="http://schemas.microsoft.com/office/drawing/2014/main" id="{9E8BA6A1-A6DC-451C-8541-37166907CB32}"/>
              </a:ext>
            </a:extLst>
          </p:cNvPr>
          <p:cNvSpPr txBox="1"/>
          <p:nvPr/>
        </p:nvSpPr>
        <p:spPr>
          <a:xfrm>
            <a:off x="8895432" y="1358724"/>
            <a:ext cx="17522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>
                <a:solidFill>
                  <a:srgbClr val="CC4C03"/>
                </a:solidFill>
              </a:rPr>
              <a:t>raw</a:t>
            </a:r>
            <a:endParaRPr lang="de-DE" dirty="0">
              <a:solidFill>
                <a:srgbClr val="CC4C03"/>
              </a:solidFill>
            </a:endParaRPr>
          </a:p>
          <a:p>
            <a:pPr algn="ctr"/>
            <a:r>
              <a:rPr lang="de-DE" dirty="0" err="1">
                <a:solidFill>
                  <a:srgbClr val="CC4C03"/>
                </a:solidFill>
              </a:rPr>
              <a:t>performanc</a:t>
            </a:r>
            <a:r>
              <a:rPr lang="de-DE" dirty="0">
                <a:solidFill>
                  <a:srgbClr val="CC4C03"/>
                </a:solidFill>
              </a:rPr>
              <a:t> </a:t>
            </a:r>
            <a:r>
              <a:rPr lang="de-DE" dirty="0" err="1">
                <a:solidFill>
                  <a:srgbClr val="CC4C03"/>
                </a:solidFill>
              </a:rPr>
              <a:t>data</a:t>
            </a:r>
            <a:endParaRPr lang="de-DE" dirty="0">
              <a:solidFill>
                <a:srgbClr val="CC4C03"/>
              </a:solidFill>
            </a:endParaRPr>
          </a:p>
        </p:txBody>
      </p:sp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id="{C631929E-3246-4019-ABD1-7CD14CE07F99}"/>
              </a:ext>
            </a:extLst>
          </p:cNvPr>
          <p:cNvCxnSpPr>
            <a:cxnSpLocks/>
          </p:cNvCxnSpPr>
          <p:nvPr/>
        </p:nvCxnSpPr>
        <p:spPr>
          <a:xfrm>
            <a:off x="5218893" y="866808"/>
            <a:ext cx="4094102" cy="9016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Verbinder: gewinkelt 161">
            <a:extLst>
              <a:ext uri="{FF2B5EF4-FFF2-40B4-BE49-F238E27FC236}">
                <a16:creationId xmlns:a16="http://schemas.microsoft.com/office/drawing/2014/main" id="{729A00D5-466E-4DA4-A65A-D1672F46AD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900360" y="1402843"/>
            <a:ext cx="1812386" cy="864668"/>
          </a:xfrm>
          <a:prstGeom prst="bentConnector3">
            <a:avLst>
              <a:gd name="adj1" fmla="val 99990"/>
            </a:avLst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E2067CC1-6CB6-43B7-8218-B17E9C2A43CF}"/>
              </a:ext>
            </a:extLst>
          </p:cNvPr>
          <p:cNvCxnSpPr>
            <a:cxnSpLocks/>
            <a:stCxn id="11" idx="0"/>
            <a:endCxn id="34" idx="2"/>
          </p:cNvCxnSpPr>
          <p:nvPr/>
        </p:nvCxnSpPr>
        <p:spPr>
          <a:xfrm flipH="1" flipV="1">
            <a:off x="4450526" y="1734096"/>
            <a:ext cx="3" cy="583641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F17DE304-4ADE-49C0-85CD-0F1DA4ABBC3D}"/>
              </a:ext>
            </a:extLst>
          </p:cNvPr>
          <p:cNvCxnSpPr>
            <a:cxnSpLocks/>
            <a:stCxn id="15" idx="0"/>
            <a:endCxn id="40" idx="2"/>
          </p:cNvCxnSpPr>
          <p:nvPr/>
        </p:nvCxnSpPr>
        <p:spPr>
          <a:xfrm flipV="1">
            <a:off x="4470309" y="3595852"/>
            <a:ext cx="12415" cy="1144598"/>
          </a:xfrm>
          <a:prstGeom prst="straightConnector1">
            <a:avLst/>
          </a:prstGeom>
          <a:ln>
            <a:solidFill>
              <a:srgbClr val="CC4C0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93D7E33-71D7-4B77-A049-BF08EE518A7F}"/>
              </a:ext>
            </a:extLst>
          </p:cNvPr>
          <p:cNvCxnSpPr>
            <a:stCxn id="15" idx="1"/>
            <a:endCxn id="23" idx="3"/>
          </p:cNvCxnSpPr>
          <p:nvPr/>
        </p:nvCxnSpPr>
        <p:spPr>
          <a:xfrm flipH="1" flipV="1">
            <a:off x="2601531" y="5252361"/>
            <a:ext cx="1351187" cy="5680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0998BB43-8665-4ECC-97A8-45E64A7C2BDE}"/>
              </a:ext>
            </a:extLst>
          </p:cNvPr>
          <p:cNvCxnSpPr>
            <a:cxnSpLocks/>
          </p:cNvCxnSpPr>
          <p:nvPr/>
        </p:nvCxnSpPr>
        <p:spPr>
          <a:xfrm>
            <a:off x="2079738" y="3644398"/>
            <a:ext cx="9359" cy="1149025"/>
          </a:xfrm>
          <a:prstGeom prst="straightConnector1">
            <a:avLst/>
          </a:prstGeom>
          <a:ln>
            <a:solidFill>
              <a:srgbClr val="CC4C0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Verbinder: gewinkelt 173">
            <a:extLst>
              <a:ext uri="{FF2B5EF4-FFF2-40B4-BE49-F238E27FC236}">
                <a16:creationId xmlns:a16="http://schemas.microsoft.com/office/drawing/2014/main" id="{3A669294-5CCB-4623-B29B-DB2E642E6021}"/>
              </a:ext>
            </a:extLst>
          </p:cNvPr>
          <p:cNvCxnSpPr>
            <a:cxnSpLocks/>
          </p:cNvCxnSpPr>
          <p:nvPr/>
        </p:nvCxnSpPr>
        <p:spPr>
          <a:xfrm flipV="1">
            <a:off x="2242456" y="1673009"/>
            <a:ext cx="1496242" cy="558981"/>
          </a:xfrm>
          <a:prstGeom prst="bentConnector3">
            <a:avLst>
              <a:gd name="adj1" fmla="val 100"/>
            </a:avLst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feld 209">
            <a:extLst>
              <a:ext uri="{FF2B5EF4-FFF2-40B4-BE49-F238E27FC236}">
                <a16:creationId xmlns:a16="http://schemas.microsoft.com/office/drawing/2014/main" id="{A50D6072-400B-46E1-B1EB-BF9C43230475}"/>
              </a:ext>
            </a:extLst>
          </p:cNvPr>
          <p:cNvSpPr txBox="1"/>
          <p:nvPr/>
        </p:nvSpPr>
        <p:spPr>
          <a:xfrm>
            <a:off x="2262771" y="1699054"/>
            <a:ext cx="13500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response</a:t>
            </a:r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 time</a:t>
            </a:r>
          </a:p>
        </p:txBody>
      </p:sp>
      <p:sp>
        <p:nvSpPr>
          <p:cNvPr id="211" name="Textfeld 210">
            <a:extLst>
              <a:ext uri="{FF2B5EF4-FFF2-40B4-BE49-F238E27FC236}">
                <a16:creationId xmlns:a16="http://schemas.microsoft.com/office/drawing/2014/main" id="{3A3A8FB1-3200-4D9C-850D-DC614A6A585D}"/>
              </a:ext>
            </a:extLst>
          </p:cNvPr>
          <p:cNvSpPr txBox="1"/>
          <p:nvPr/>
        </p:nvSpPr>
        <p:spPr>
          <a:xfrm>
            <a:off x="4490567" y="4018653"/>
            <a:ext cx="8474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monitor</a:t>
            </a:r>
          </a:p>
        </p:txBody>
      </p:sp>
      <p:sp>
        <p:nvSpPr>
          <p:cNvPr id="214" name="Textfeld 213">
            <a:extLst>
              <a:ext uri="{FF2B5EF4-FFF2-40B4-BE49-F238E27FC236}">
                <a16:creationId xmlns:a16="http://schemas.microsoft.com/office/drawing/2014/main" id="{0D5A3FBA-5744-4811-ADA6-6A21367E2C7F}"/>
              </a:ext>
            </a:extLst>
          </p:cNvPr>
          <p:cNvSpPr txBox="1"/>
          <p:nvPr/>
        </p:nvSpPr>
        <p:spPr>
          <a:xfrm>
            <a:off x="6369524" y="508205"/>
            <a:ext cx="1148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accumulat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6" name="Textfeld 215">
            <a:extLst>
              <a:ext uri="{FF2B5EF4-FFF2-40B4-BE49-F238E27FC236}">
                <a16:creationId xmlns:a16="http://schemas.microsoft.com/office/drawing/2014/main" id="{25980747-2E19-4C55-B322-4FF2963A2E0D}"/>
              </a:ext>
            </a:extLst>
          </p:cNvPr>
          <p:cNvSpPr txBox="1"/>
          <p:nvPr/>
        </p:nvSpPr>
        <p:spPr>
          <a:xfrm>
            <a:off x="4623139" y="2081922"/>
            <a:ext cx="97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ressourc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usag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24" name="Grafik 223">
            <a:extLst>
              <a:ext uri="{FF2B5EF4-FFF2-40B4-BE49-F238E27FC236}">
                <a16:creationId xmlns:a16="http://schemas.microsoft.com/office/drawing/2014/main" id="{91E564DA-5983-4DE2-89E6-19105301D4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32936" y="341577"/>
            <a:ext cx="1035181" cy="1035181"/>
          </a:xfrm>
          <a:prstGeom prst="rect">
            <a:avLst/>
          </a:prstGeom>
        </p:spPr>
      </p:pic>
      <p:pic>
        <p:nvPicPr>
          <p:cNvPr id="232" name="Grafik 231">
            <a:extLst>
              <a:ext uri="{FF2B5EF4-FFF2-40B4-BE49-F238E27FC236}">
                <a16:creationId xmlns:a16="http://schemas.microsoft.com/office/drawing/2014/main" id="{13486ACE-A404-4DDD-BA94-42481D81634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55981" y="2317006"/>
            <a:ext cx="1033237" cy="1033237"/>
          </a:xfrm>
          <a:prstGeom prst="rect">
            <a:avLst/>
          </a:prstGeom>
        </p:spPr>
      </p:pic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9BE2FF45-C6F7-47B1-A595-D5A63096B40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68190" y="2434765"/>
            <a:ext cx="1035183" cy="1035183"/>
          </a:xfrm>
          <a:prstGeom prst="rect">
            <a:avLst/>
          </a:prstGeom>
        </p:spPr>
      </p:pic>
      <p:pic>
        <p:nvPicPr>
          <p:cNvPr id="8" name="Grafik 7" descr="Recherche">
            <a:extLst>
              <a:ext uri="{FF2B5EF4-FFF2-40B4-BE49-F238E27FC236}">
                <a16:creationId xmlns:a16="http://schemas.microsoft.com/office/drawing/2014/main" id="{EA8D1B29-F7C7-4B2C-B5E1-9C3A50FAD3D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99999" y="2434765"/>
            <a:ext cx="1035183" cy="1035183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8245B961-5DA7-46FC-AF57-4B45E80A001C}"/>
              </a:ext>
            </a:extLst>
          </p:cNvPr>
          <p:cNvSpPr txBox="1"/>
          <p:nvPr/>
        </p:nvSpPr>
        <p:spPr>
          <a:xfrm>
            <a:off x="7893050" y="3544204"/>
            <a:ext cx="849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>
                <a:solidFill>
                  <a:srgbClr val="CC4C03"/>
                </a:solidFill>
              </a:rPr>
              <a:t>Extra-P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BF43CBD-73A0-4ED4-BA40-4B8CBEDC6674}"/>
              </a:ext>
            </a:extLst>
          </p:cNvPr>
          <p:cNvSpPr txBox="1"/>
          <p:nvPr/>
        </p:nvSpPr>
        <p:spPr>
          <a:xfrm>
            <a:off x="10153477" y="3535599"/>
            <a:ext cx="18646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>
                <a:solidFill>
                  <a:srgbClr val="CC4C03"/>
                </a:solidFill>
              </a:rPr>
              <a:t>Machine</a:t>
            </a:r>
            <a:r>
              <a:rPr lang="de-DE" dirty="0">
                <a:solidFill>
                  <a:srgbClr val="CC4C03"/>
                </a:solidFill>
              </a:rPr>
              <a:t> Learning</a:t>
            </a:r>
          </a:p>
          <a:p>
            <a:pPr algn="ctr"/>
            <a:r>
              <a:rPr lang="de-DE" dirty="0">
                <a:solidFill>
                  <a:srgbClr val="CC4C03"/>
                </a:solidFill>
              </a:rPr>
              <a:t>Model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828CF341-BC4B-49DB-9EDF-47749AD8540E}"/>
              </a:ext>
            </a:extLst>
          </p:cNvPr>
          <p:cNvCxnSpPr>
            <a:stCxn id="108" idx="2"/>
            <a:endCxn id="8" idx="0"/>
          </p:cNvCxnSpPr>
          <p:nvPr/>
        </p:nvCxnSpPr>
        <p:spPr>
          <a:xfrm rot="5400000">
            <a:off x="8829710" y="1492937"/>
            <a:ext cx="429710" cy="1453947"/>
          </a:xfrm>
          <a:prstGeom prst="bentConnector3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Verbinder: gewinkelt 17">
            <a:extLst>
              <a:ext uri="{FF2B5EF4-FFF2-40B4-BE49-F238E27FC236}">
                <a16:creationId xmlns:a16="http://schemas.microsoft.com/office/drawing/2014/main" id="{600B41B5-A213-4F15-9EEE-F0324AE46BD6}"/>
              </a:ext>
            </a:extLst>
          </p:cNvPr>
          <p:cNvCxnSpPr>
            <a:stCxn id="108" idx="2"/>
            <a:endCxn id="6" idx="0"/>
          </p:cNvCxnSpPr>
          <p:nvPr/>
        </p:nvCxnSpPr>
        <p:spPr>
          <a:xfrm rot="16200000" flipH="1">
            <a:off x="10213805" y="1562788"/>
            <a:ext cx="429710" cy="1314244"/>
          </a:xfrm>
          <a:prstGeom prst="bentConnector3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721B8FD1-A0C7-4FD4-AD5C-7BD3B3BD0C9C}"/>
              </a:ext>
            </a:extLst>
          </p:cNvPr>
          <p:cNvSpPr txBox="1"/>
          <p:nvPr/>
        </p:nvSpPr>
        <p:spPr>
          <a:xfrm>
            <a:off x="5332280" y="4974756"/>
            <a:ext cx="5985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scal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0" name="Grafik 19" descr="Statistik">
            <a:extLst>
              <a:ext uri="{FF2B5EF4-FFF2-40B4-BE49-F238E27FC236}">
                <a16:creationId xmlns:a16="http://schemas.microsoft.com/office/drawing/2014/main" id="{2F2D8A6C-C212-49C2-9C83-BDB83A2EC2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130125" y="4734768"/>
            <a:ext cx="1035181" cy="1035181"/>
          </a:xfrm>
          <a:prstGeom prst="rect">
            <a:avLst/>
          </a:prstGeom>
        </p:spPr>
      </p:pic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274A06D7-F0DF-49A7-9F80-2A375FC8EDB9}"/>
              </a:ext>
            </a:extLst>
          </p:cNvPr>
          <p:cNvCxnSpPr>
            <a:stCxn id="48" idx="2"/>
            <a:endCxn id="20" idx="0"/>
          </p:cNvCxnSpPr>
          <p:nvPr/>
        </p:nvCxnSpPr>
        <p:spPr>
          <a:xfrm rot="5400000">
            <a:off x="10090331" y="3739315"/>
            <a:ext cx="552838" cy="1438068"/>
          </a:xfrm>
          <a:prstGeom prst="bentConnector3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Verbinder: gewinkelt 25">
            <a:extLst>
              <a:ext uri="{FF2B5EF4-FFF2-40B4-BE49-F238E27FC236}">
                <a16:creationId xmlns:a16="http://schemas.microsoft.com/office/drawing/2014/main" id="{30F60652-A19C-459E-A007-D43A1F8A538E}"/>
              </a:ext>
            </a:extLst>
          </p:cNvPr>
          <p:cNvCxnSpPr>
            <a:cxnSpLocks/>
            <a:stCxn id="47" idx="2"/>
            <a:endCxn id="20" idx="0"/>
          </p:cNvCxnSpPr>
          <p:nvPr/>
        </p:nvCxnSpPr>
        <p:spPr>
          <a:xfrm rot="16200000" flipH="1">
            <a:off x="8572037" y="3659089"/>
            <a:ext cx="821232" cy="1330126"/>
          </a:xfrm>
          <a:prstGeom prst="bentConnector3">
            <a:avLst>
              <a:gd name="adj1" fmla="val 66344"/>
            </a:avLst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>
            <a:extLst>
              <a:ext uri="{FF2B5EF4-FFF2-40B4-BE49-F238E27FC236}">
                <a16:creationId xmlns:a16="http://schemas.microsoft.com/office/drawing/2014/main" id="{27F805F7-AF9B-4421-B117-61078BC1D1FD}"/>
              </a:ext>
            </a:extLst>
          </p:cNvPr>
          <p:cNvSpPr txBox="1"/>
          <p:nvPr/>
        </p:nvSpPr>
        <p:spPr>
          <a:xfrm>
            <a:off x="8620766" y="5719707"/>
            <a:ext cx="2053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>
                <a:solidFill>
                  <a:srgbClr val="CC4C03"/>
                </a:solidFill>
              </a:rPr>
              <a:t>Performance Model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CEEC36F-637B-4CD7-862F-31841DE32718}"/>
              </a:ext>
            </a:extLst>
          </p:cNvPr>
          <p:cNvSpPr txBox="1"/>
          <p:nvPr/>
        </p:nvSpPr>
        <p:spPr>
          <a:xfrm>
            <a:off x="6181574" y="5721384"/>
            <a:ext cx="1180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Autoscaler</a:t>
            </a: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3DAEDDE1-468D-438F-8136-B9D2C3765F2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75222" y="4734769"/>
            <a:ext cx="1035181" cy="1035181"/>
          </a:xfrm>
          <a:prstGeom prst="rect">
            <a:avLst/>
          </a:prstGeom>
        </p:spPr>
      </p:pic>
      <p:sp>
        <p:nvSpPr>
          <p:cNvPr id="81" name="Textfeld 80">
            <a:extLst>
              <a:ext uri="{FF2B5EF4-FFF2-40B4-BE49-F238E27FC236}">
                <a16:creationId xmlns:a16="http://schemas.microsoft.com/office/drawing/2014/main" id="{17794855-78CB-49AF-87DF-68DCD8A46B2C}"/>
              </a:ext>
            </a:extLst>
          </p:cNvPr>
          <p:cNvSpPr txBox="1"/>
          <p:nvPr/>
        </p:nvSpPr>
        <p:spPr>
          <a:xfrm>
            <a:off x="7722070" y="4974756"/>
            <a:ext cx="9155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compar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C1EC443C-50E4-49F1-BCFF-2C7462B398F1}"/>
              </a:ext>
            </a:extLst>
          </p:cNvPr>
          <p:cNvSpPr txBox="1"/>
          <p:nvPr/>
        </p:nvSpPr>
        <p:spPr>
          <a:xfrm>
            <a:off x="9114129" y="2234421"/>
            <a:ext cx="14275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filter</a:t>
            </a:r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 &amp; </a:t>
            </a:r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convert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16B91D41-1397-43BB-B86F-F79BE12E7BF9}"/>
              </a:ext>
            </a:extLst>
          </p:cNvPr>
          <p:cNvSpPr txBox="1"/>
          <p:nvPr/>
        </p:nvSpPr>
        <p:spPr>
          <a:xfrm>
            <a:off x="9265237" y="4119795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predict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EA9F5B31-6293-483F-9DE5-1F624AA088EF}"/>
              </a:ext>
            </a:extLst>
          </p:cNvPr>
          <p:cNvCxnSpPr>
            <a:cxnSpLocks/>
            <a:stCxn id="67" idx="1"/>
            <a:endCxn id="15" idx="3"/>
          </p:cNvCxnSpPr>
          <p:nvPr/>
        </p:nvCxnSpPr>
        <p:spPr>
          <a:xfrm flipH="1">
            <a:off x="4987900" y="5252360"/>
            <a:ext cx="1287322" cy="5681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74FE8A16-0798-4B7C-86C8-48BC8AE319E8}"/>
              </a:ext>
            </a:extLst>
          </p:cNvPr>
          <p:cNvCxnSpPr>
            <a:stCxn id="11" idx="3"/>
            <a:endCxn id="67" idx="0"/>
          </p:cNvCxnSpPr>
          <p:nvPr/>
        </p:nvCxnSpPr>
        <p:spPr>
          <a:xfrm>
            <a:off x="4968120" y="2835329"/>
            <a:ext cx="1824693" cy="1899440"/>
          </a:xfrm>
          <a:prstGeom prst="bentConnector2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6CC8D32B-CEA8-4E14-9BC2-1FD94865388C}"/>
              </a:ext>
            </a:extLst>
          </p:cNvPr>
          <p:cNvCxnSpPr>
            <a:cxnSpLocks/>
            <a:stCxn id="20" idx="1"/>
            <a:endCxn id="67" idx="3"/>
          </p:cNvCxnSpPr>
          <p:nvPr/>
        </p:nvCxnSpPr>
        <p:spPr>
          <a:xfrm flipH="1">
            <a:off x="7310403" y="5252359"/>
            <a:ext cx="1819722" cy="1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1957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5DB76DA0-20DE-4E59-8B20-5A239B7A99A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511" y="4382642"/>
            <a:ext cx="1035182" cy="103518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9366DB1-3600-49BF-B4E9-5E0618B42AF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207" y="2549386"/>
            <a:ext cx="1035182" cy="1035182"/>
          </a:xfrm>
          <a:prstGeom prst="rect">
            <a:avLst/>
          </a:prstGeom>
        </p:spPr>
      </p:pic>
      <p:pic>
        <p:nvPicPr>
          <p:cNvPr id="23" name="Grafik 22" descr="Internet">
            <a:extLst>
              <a:ext uri="{FF2B5EF4-FFF2-40B4-BE49-F238E27FC236}">
                <a16:creationId xmlns:a16="http://schemas.microsoft.com/office/drawing/2014/main" id="{DFBFA669-97A8-45BB-9887-0066F16F4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91499" y="4393671"/>
            <a:ext cx="1035183" cy="1035183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7AA44258-3B33-43B7-AC4D-94142CDAB65E}"/>
              </a:ext>
            </a:extLst>
          </p:cNvPr>
          <p:cNvSpPr txBox="1"/>
          <p:nvPr/>
        </p:nvSpPr>
        <p:spPr>
          <a:xfrm>
            <a:off x="5056716" y="3458168"/>
            <a:ext cx="1180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Autoscaler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7FCC1E7-2BB9-4E8C-AC3B-A45FB57AD2F7}"/>
              </a:ext>
            </a:extLst>
          </p:cNvPr>
          <p:cNvSpPr txBox="1"/>
          <p:nvPr/>
        </p:nvSpPr>
        <p:spPr>
          <a:xfrm>
            <a:off x="2883671" y="3458168"/>
            <a:ext cx="8681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Linkerd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28AD6633-3E28-439E-BBA2-F027CE4C5BEF}"/>
              </a:ext>
            </a:extLst>
          </p:cNvPr>
          <p:cNvSpPr txBox="1"/>
          <p:nvPr/>
        </p:nvSpPr>
        <p:spPr>
          <a:xfrm>
            <a:off x="6938860" y="3458168"/>
            <a:ext cx="1325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Prometheus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AD7B7BA-2848-4571-ABED-434685C15A99}"/>
              </a:ext>
            </a:extLst>
          </p:cNvPr>
          <p:cNvSpPr txBox="1"/>
          <p:nvPr/>
        </p:nvSpPr>
        <p:spPr>
          <a:xfrm>
            <a:off x="2623501" y="5312043"/>
            <a:ext cx="1388526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EC6500"/>
                </a:solidFill>
              </a:rPr>
              <a:t>Microservice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CB36DD8-50E3-414C-99B7-110FD1FFD6AB}"/>
              </a:ext>
            </a:extLst>
          </p:cNvPr>
          <p:cNvSpPr txBox="1"/>
          <p:nvPr/>
        </p:nvSpPr>
        <p:spPr>
          <a:xfrm>
            <a:off x="5014409" y="5318316"/>
            <a:ext cx="1256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Kubernetes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F196B3C1-D4E1-4142-8151-2E737B6206F8}"/>
              </a:ext>
            </a:extLst>
          </p:cNvPr>
          <p:cNvSpPr txBox="1"/>
          <p:nvPr/>
        </p:nvSpPr>
        <p:spPr>
          <a:xfrm>
            <a:off x="4171062" y="4590990"/>
            <a:ext cx="7723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update</a:t>
            </a:r>
          </a:p>
        </p:txBody>
      </p: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93D7E33-71D7-4B77-A049-BF08EE518A7F}"/>
              </a:ext>
            </a:extLst>
          </p:cNvPr>
          <p:cNvCxnSpPr>
            <a:stCxn id="15" idx="1"/>
            <a:endCxn id="23" idx="3"/>
          </p:cNvCxnSpPr>
          <p:nvPr/>
        </p:nvCxnSpPr>
        <p:spPr>
          <a:xfrm flipH="1">
            <a:off x="3826682" y="4900233"/>
            <a:ext cx="1302829" cy="11030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0998BB43-8665-4ECC-97A8-45E64A7C2BDE}"/>
              </a:ext>
            </a:extLst>
          </p:cNvPr>
          <p:cNvCxnSpPr>
            <a:cxnSpLocks/>
            <a:stCxn id="36" idx="2"/>
            <a:endCxn id="23" idx="0"/>
          </p:cNvCxnSpPr>
          <p:nvPr/>
        </p:nvCxnSpPr>
        <p:spPr>
          <a:xfrm flipH="1">
            <a:off x="3309091" y="3827500"/>
            <a:ext cx="8673" cy="566171"/>
          </a:xfrm>
          <a:prstGeom prst="straightConnector1">
            <a:avLst/>
          </a:prstGeom>
          <a:ln>
            <a:solidFill>
              <a:srgbClr val="CC4C03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10" name="Textfeld 209">
            <a:extLst>
              <a:ext uri="{FF2B5EF4-FFF2-40B4-BE49-F238E27FC236}">
                <a16:creationId xmlns:a16="http://schemas.microsoft.com/office/drawing/2014/main" id="{A50D6072-400B-46E1-B1EB-BF9C43230475}"/>
              </a:ext>
            </a:extLst>
          </p:cNvPr>
          <p:cNvSpPr txBox="1"/>
          <p:nvPr/>
        </p:nvSpPr>
        <p:spPr>
          <a:xfrm>
            <a:off x="3967734" y="2514600"/>
            <a:ext cx="8728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network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de-DE" sz="1600" i="1" dirty="0"/>
              <a:t> </a:t>
            </a:r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metrics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feld 210">
            <a:extLst>
              <a:ext uri="{FF2B5EF4-FFF2-40B4-BE49-F238E27FC236}">
                <a16:creationId xmlns:a16="http://schemas.microsoft.com/office/drawing/2014/main" id="{3A3A8FB1-3200-4D9C-850D-DC614A6A585D}"/>
              </a:ext>
            </a:extLst>
          </p:cNvPr>
          <p:cNvSpPr txBox="1"/>
          <p:nvPr/>
        </p:nvSpPr>
        <p:spPr>
          <a:xfrm>
            <a:off x="7695214" y="3969960"/>
            <a:ext cx="8474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monitor</a:t>
            </a:r>
          </a:p>
        </p:txBody>
      </p:sp>
      <p:sp>
        <p:nvSpPr>
          <p:cNvPr id="216" name="Textfeld 215">
            <a:extLst>
              <a:ext uri="{FF2B5EF4-FFF2-40B4-BE49-F238E27FC236}">
                <a16:creationId xmlns:a16="http://schemas.microsoft.com/office/drawing/2014/main" id="{25980747-2E19-4C55-B322-4FF2963A2E0D}"/>
              </a:ext>
            </a:extLst>
          </p:cNvPr>
          <p:cNvSpPr txBox="1"/>
          <p:nvPr/>
        </p:nvSpPr>
        <p:spPr>
          <a:xfrm>
            <a:off x="6158573" y="2498004"/>
            <a:ext cx="97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ressourc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metrics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24" name="Grafik 223">
            <a:extLst>
              <a:ext uri="{FF2B5EF4-FFF2-40B4-BE49-F238E27FC236}">
                <a16:creationId xmlns:a16="http://schemas.microsoft.com/office/drawing/2014/main" id="{91E564DA-5983-4DE2-89E6-19105301D4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94236" y="2551331"/>
            <a:ext cx="1035181" cy="1035181"/>
          </a:xfrm>
          <a:prstGeom prst="rect">
            <a:avLst/>
          </a:prstGeom>
        </p:spPr>
      </p:pic>
      <p:pic>
        <p:nvPicPr>
          <p:cNvPr id="232" name="Grafik 231">
            <a:extLst>
              <a:ext uri="{FF2B5EF4-FFF2-40B4-BE49-F238E27FC236}">
                <a16:creationId xmlns:a16="http://schemas.microsoft.com/office/drawing/2014/main" id="{13486ACE-A404-4DDD-BA94-42481D8163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74996" y="2638548"/>
            <a:ext cx="868187" cy="868187"/>
          </a:xfrm>
          <a:prstGeom prst="rect">
            <a:avLst/>
          </a:prstGeom>
        </p:spPr>
      </p:pic>
      <p:sp>
        <p:nvSpPr>
          <p:cNvPr id="56" name="Textfeld 55">
            <a:extLst>
              <a:ext uri="{FF2B5EF4-FFF2-40B4-BE49-F238E27FC236}">
                <a16:creationId xmlns:a16="http://schemas.microsoft.com/office/drawing/2014/main" id="{721B8FD1-A0C7-4FD4-AD5C-7BD3B3BD0C9C}"/>
              </a:ext>
            </a:extLst>
          </p:cNvPr>
          <p:cNvSpPr txBox="1"/>
          <p:nvPr/>
        </p:nvSpPr>
        <p:spPr>
          <a:xfrm>
            <a:off x="5703964" y="3973565"/>
            <a:ext cx="5985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scal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0" name="Grafik 19" descr="Statistik">
            <a:extLst>
              <a:ext uri="{FF2B5EF4-FFF2-40B4-BE49-F238E27FC236}">
                <a16:creationId xmlns:a16="http://schemas.microsoft.com/office/drawing/2014/main" id="{2F2D8A6C-C212-49C2-9C83-BDB83A2EC2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24908" y="432529"/>
            <a:ext cx="1035181" cy="1035181"/>
          </a:xfrm>
          <a:prstGeom prst="rect">
            <a:avLst/>
          </a:prstGeom>
        </p:spPr>
      </p:pic>
      <p:sp>
        <p:nvSpPr>
          <p:cNvPr id="64" name="Textfeld 63">
            <a:extLst>
              <a:ext uri="{FF2B5EF4-FFF2-40B4-BE49-F238E27FC236}">
                <a16:creationId xmlns:a16="http://schemas.microsoft.com/office/drawing/2014/main" id="{27F805F7-AF9B-4421-B117-61078BC1D1FD}"/>
              </a:ext>
            </a:extLst>
          </p:cNvPr>
          <p:cNvSpPr txBox="1"/>
          <p:nvPr/>
        </p:nvSpPr>
        <p:spPr>
          <a:xfrm>
            <a:off x="4584877" y="1382865"/>
            <a:ext cx="2053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>
                <a:solidFill>
                  <a:srgbClr val="CC4C03"/>
                </a:solidFill>
              </a:rPr>
              <a:t>Performance</a:t>
            </a:r>
            <a:r>
              <a:rPr lang="de-DE" dirty="0">
                <a:solidFill>
                  <a:srgbClr val="EC6500"/>
                </a:solidFill>
              </a:rPr>
              <a:t> </a:t>
            </a:r>
            <a:r>
              <a:rPr lang="de-DE" dirty="0">
                <a:solidFill>
                  <a:srgbClr val="CC4C03"/>
                </a:solidFill>
              </a:rPr>
              <a:t>Model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17794855-78CB-49AF-87DF-68DCD8A46B2C}"/>
              </a:ext>
            </a:extLst>
          </p:cNvPr>
          <p:cNvSpPr txBox="1"/>
          <p:nvPr/>
        </p:nvSpPr>
        <p:spPr>
          <a:xfrm>
            <a:off x="5611826" y="1948621"/>
            <a:ext cx="9155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compar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EA9F5B31-6293-483F-9DE5-1F624AA088EF}"/>
              </a:ext>
            </a:extLst>
          </p:cNvPr>
          <p:cNvCxnSpPr>
            <a:cxnSpLocks/>
            <a:stCxn id="34" idx="2"/>
            <a:endCxn id="15" idx="0"/>
          </p:cNvCxnSpPr>
          <p:nvPr/>
        </p:nvCxnSpPr>
        <p:spPr>
          <a:xfrm>
            <a:off x="5647102" y="3827500"/>
            <a:ext cx="0" cy="555142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6CC8D32B-CEA8-4E14-9BC2-1FD94865388C}"/>
              </a:ext>
            </a:extLst>
          </p:cNvPr>
          <p:cNvCxnSpPr>
            <a:cxnSpLocks/>
            <a:stCxn id="64" idx="2"/>
            <a:endCxn id="224" idx="0"/>
          </p:cNvCxnSpPr>
          <p:nvPr/>
        </p:nvCxnSpPr>
        <p:spPr>
          <a:xfrm>
            <a:off x="5611826" y="1752197"/>
            <a:ext cx="1" cy="799134"/>
          </a:xfrm>
          <a:prstGeom prst="straightConnector1">
            <a:avLst/>
          </a:prstGeom>
          <a:ln>
            <a:solidFill>
              <a:srgbClr val="CC4C0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9BE4706C-352E-2A4D-B2ED-CDDFDA94E060}"/>
              </a:ext>
            </a:extLst>
          </p:cNvPr>
          <p:cNvSpPr txBox="1"/>
          <p:nvPr/>
        </p:nvSpPr>
        <p:spPr>
          <a:xfrm>
            <a:off x="3309091" y="3969960"/>
            <a:ext cx="847411" cy="3385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monitor</a:t>
            </a:r>
            <a:endParaRPr lang="de-DE" i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EC4505F-9D07-C548-8283-1E2427CE4696}"/>
              </a:ext>
            </a:extLst>
          </p:cNvPr>
          <p:cNvCxnSpPr>
            <a:cxnSpLocks/>
            <a:stCxn id="11" idx="1"/>
            <a:endCxn id="224" idx="3"/>
          </p:cNvCxnSpPr>
          <p:nvPr/>
        </p:nvCxnSpPr>
        <p:spPr>
          <a:xfrm flipH="1">
            <a:off x="6129417" y="3066977"/>
            <a:ext cx="954790" cy="1945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winkelte Verbindung 79">
            <a:extLst>
              <a:ext uri="{FF2B5EF4-FFF2-40B4-BE49-F238E27FC236}">
                <a16:creationId xmlns:a16="http://schemas.microsoft.com/office/drawing/2014/main" id="{98AE8F9A-A4E0-AD43-952B-E6046463C2A1}"/>
              </a:ext>
            </a:extLst>
          </p:cNvPr>
          <p:cNvCxnSpPr>
            <a:cxnSpLocks/>
            <a:stCxn id="40" idx="2"/>
            <a:endCxn id="15" idx="3"/>
          </p:cNvCxnSpPr>
          <p:nvPr/>
        </p:nvCxnSpPr>
        <p:spPr>
          <a:xfrm rot="5400000">
            <a:off x="6346880" y="3645314"/>
            <a:ext cx="1072733" cy="1437105"/>
          </a:xfrm>
          <a:prstGeom prst="bentConnector2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63CCAA7-9995-F947-8F06-A0C3403201C2}"/>
              </a:ext>
            </a:extLst>
          </p:cNvPr>
          <p:cNvCxnSpPr>
            <a:stCxn id="232" idx="3"/>
            <a:endCxn id="224" idx="1"/>
          </p:cNvCxnSpPr>
          <p:nvPr/>
        </p:nvCxnSpPr>
        <p:spPr>
          <a:xfrm flipV="1">
            <a:off x="3743183" y="3068922"/>
            <a:ext cx="1351053" cy="3720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0326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32C20AE7-20C7-5C48-953E-0ADAB6715D27}"/>
              </a:ext>
            </a:extLst>
          </p:cNvPr>
          <p:cNvSpPr/>
          <p:nvPr/>
        </p:nvSpPr>
        <p:spPr>
          <a:xfrm>
            <a:off x="1133061" y="397565"/>
            <a:ext cx="3240157" cy="3240157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Server mit einfarbiger Füllung">
            <a:extLst>
              <a:ext uri="{FF2B5EF4-FFF2-40B4-BE49-F238E27FC236}">
                <a16:creationId xmlns:a16="http://schemas.microsoft.com/office/drawing/2014/main" id="{D4142E07-7012-BD44-A736-DC4D2E5938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95939" y="5246649"/>
            <a:ext cx="914400" cy="9144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274E2D55-8771-D04C-9662-63CA60283B8B}"/>
              </a:ext>
            </a:extLst>
          </p:cNvPr>
          <p:cNvSpPr/>
          <p:nvPr/>
        </p:nvSpPr>
        <p:spPr>
          <a:xfrm>
            <a:off x="2212304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2A9DA784-C27F-D845-B03C-FC272665B78E}"/>
              </a:ext>
            </a:extLst>
          </p:cNvPr>
          <p:cNvCxnSpPr>
            <a:stCxn id="4" idx="4"/>
            <a:endCxn id="7" idx="0"/>
          </p:cNvCxnSpPr>
          <p:nvPr/>
        </p:nvCxnSpPr>
        <p:spPr>
          <a:xfrm flipH="1">
            <a:off x="2753139" y="3637722"/>
            <a:ext cx="1" cy="1528081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A6C412DB-3525-5640-937F-2CFE3A097086}"/>
              </a:ext>
            </a:extLst>
          </p:cNvPr>
          <p:cNvSpPr txBox="1"/>
          <p:nvPr/>
        </p:nvSpPr>
        <p:spPr>
          <a:xfrm>
            <a:off x="1544762" y="6324552"/>
            <a:ext cx="24167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CC4C03"/>
                </a:solidFill>
              </a:rPr>
              <a:t>Monolithic</a:t>
            </a:r>
            <a:r>
              <a:rPr lang="de-DE" dirty="0">
                <a:solidFill>
                  <a:srgbClr val="CC4C03"/>
                </a:solidFill>
              </a:rPr>
              <a:t> </a:t>
            </a:r>
            <a:r>
              <a:rPr lang="de-DE" dirty="0" err="1">
                <a:solidFill>
                  <a:srgbClr val="CC4C03"/>
                </a:solidFill>
              </a:rPr>
              <a:t>Architecture</a:t>
            </a:r>
            <a:endParaRPr lang="de-DE" dirty="0">
              <a:solidFill>
                <a:srgbClr val="CC4C03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1864032-2C5E-2C48-A100-33F7FE78510F}"/>
              </a:ext>
            </a:extLst>
          </p:cNvPr>
          <p:cNvSpPr/>
          <p:nvPr/>
        </p:nvSpPr>
        <p:spPr>
          <a:xfrm>
            <a:off x="2033138" y="696951"/>
            <a:ext cx="1440000" cy="1440000"/>
          </a:xfrm>
          <a:prstGeom prst="ellipse">
            <a:avLst/>
          </a:prstGeom>
          <a:solidFill>
            <a:srgbClr val="CC4C03"/>
          </a:solidFill>
          <a:ln>
            <a:solidFill>
              <a:srgbClr val="CC4C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000" dirty="0"/>
              <a:t>UI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24693AE-E4F6-8C49-B4D2-57C9BA5B5DCB}"/>
              </a:ext>
            </a:extLst>
          </p:cNvPr>
          <p:cNvSpPr/>
          <p:nvPr/>
        </p:nvSpPr>
        <p:spPr>
          <a:xfrm>
            <a:off x="1492304" y="1518145"/>
            <a:ext cx="1440000" cy="1440000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Business </a:t>
            </a:r>
            <a:r>
              <a:rPr lang="de-DE" dirty="0" err="1"/>
              <a:t>Logic</a:t>
            </a:r>
            <a:endParaRPr lang="de-DE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990DAE6-F55C-5B46-84AE-492AE52933ED}"/>
              </a:ext>
            </a:extLst>
          </p:cNvPr>
          <p:cNvSpPr/>
          <p:nvPr/>
        </p:nvSpPr>
        <p:spPr>
          <a:xfrm>
            <a:off x="2571547" y="1518145"/>
            <a:ext cx="1440000" cy="1440000"/>
          </a:xfrm>
          <a:prstGeom prst="ellipse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ata </a:t>
            </a:r>
            <a:r>
              <a:rPr lang="de-DE" dirty="0" err="1"/>
              <a:t>Acess</a:t>
            </a:r>
            <a:r>
              <a:rPr lang="de-DE" dirty="0"/>
              <a:t> Layer</a:t>
            </a:r>
          </a:p>
        </p:txBody>
      </p:sp>
      <p:pic>
        <p:nvPicPr>
          <p:cNvPr id="14" name="Grafik 13" descr="Server mit einfarbiger Füllung">
            <a:extLst>
              <a:ext uri="{FF2B5EF4-FFF2-40B4-BE49-F238E27FC236}">
                <a16:creationId xmlns:a16="http://schemas.microsoft.com/office/drawing/2014/main" id="{FA3C3493-A78A-2E4D-BCF3-ADBA68A397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38800" y="5246649"/>
            <a:ext cx="914400" cy="9144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29CE20DE-1AEB-7748-A563-84E782A6EC00}"/>
              </a:ext>
            </a:extLst>
          </p:cNvPr>
          <p:cNvSpPr/>
          <p:nvPr/>
        </p:nvSpPr>
        <p:spPr>
          <a:xfrm>
            <a:off x="5555165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 descr="Server mit einfarbiger Füllung">
            <a:extLst>
              <a:ext uri="{FF2B5EF4-FFF2-40B4-BE49-F238E27FC236}">
                <a16:creationId xmlns:a16="http://schemas.microsoft.com/office/drawing/2014/main" id="{779E02E7-DB2C-494F-8A24-477A1A6542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65666" y="5246649"/>
            <a:ext cx="914400" cy="914400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18C0D64-2C1E-1746-8E16-476F6AEDB4E5}"/>
              </a:ext>
            </a:extLst>
          </p:cNvPr>
          <p:cNvSpPr/>
          <p:nvPr/>
        </p:nvSpPr>
        <p:spPr>
          <a:xfrm>
            <a:off x="7182031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629E2E9-31FC-2745-B9AB-1AC35DD1BD09}"/>
              </a:ext>
            </a:extLst>
          </p:cNvPr>
          <p:cNvSpPr/>
          <p:nvPr/>
        </p:nvSpPr>
        <p:spPr>
          <a:xfrm>
            <a:off x="5736114" y="3708061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 descr="Zahnräder mit einfarbiger Füllung">
            <a:extLst>
              <a:ext uri="{FF2B5EF4-FFF2-40B4-BE49-F238E27FC236}">
                <a16:creationId xmlns:a16="http://schemas.microsoft.com/office/drawing/2014/main" id="{81E40543-50F7-534E-BE50-4753744CFB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26253" y="3778400"/>
            <a:ext cx="579321" cy="579321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B05F4A38-9672-DE47-8995-B3F706BD4889}"/>
              </a:ext>
            </a:extLst>
          </p:cNvPr>
          <p:cNvSpPr/>
          <p:nvPr/>
        </p:nvSpPr>
        <p:spPr>
          <a:xfrm>
            <a:off x="7915225" y="696951"/>
            <a:ext cx="1440000" cy="1440000"/>
          </a:xfrm>
          <a:prstGeom prst="ellipse">
            <a:avLst/>
          </a:prstGeom>
          <a:solidFill>
            <a:srgbClr val="CC4C03"/>
          </a:solidFill>
          <a:ln>
            <a:solidFill>
              <a:srgbClr val="CC4C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000" dirty="0"/>
              <a:t>UI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64EAD04-1042-EB4E-8B08-122FD9B9DF3B}"/>
              </a:ext>
            </a:extLst>
          </p:cNvPr>
          <p:cNvSpPr/>
          <p:nvPr/>
        </p:nvSpPr>
        <p:spPr>
          <a:xfrm>
            <a:off x="7362474" y="3708061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9" name="Grafik 28" descr="Zahnräder mit einfarbiger Füllung">
            <a:extLst>
              <a:ext uri="{FF2B5EF4-FFF2-40B4-BE49-F238E27FC236}">
                <a16:creationId xmlns:a16="http://schemas.microsoft.com/office/drawing/2014/main" id="{A175BAEE-E695-6F45-9428-B646D8DEC7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52613" y="3778400"/>
            <a:ext cx="579321" cy="579321"/>
          </a:xfrm>
          <a:prstGeom prst="rect">
            <a:avLst/>
          </a:prstGeom>
        </p:spPr>
      </p:pic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D9849D70-60E5-D143-BF3A-1BCE3AA799AB}"/>
              </a:ext>
            </a:extLst>
          </p:cNvPr>
          <p:cNvCxnSpPr>
            <a:cxnSpLocks/>
            <a:stCxn id="51" idx="2"/>
            <a:endCxn id="15" idx="0"/>
          </p:cNvCxnSpPr>
          <p:nvPr/>
        </p:nvCxnSpPr>
        <p:spPr>
          <a:xfrm>
            <a:off x="6095999" y="4700359"/>
            <a:ext cx="1" cy="465444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7" name="Gerade Verbindung 36">
            <a:extLst>
              <a:ext uri="{FF2B5EF4-FFF2-40B4-BE49-F238E27FC236}">
                <a16:creationId xmlns:a16="http://schemas.microsoft.com/office/drawing/2014/main" id="{FD9DEF4D-22E1-5545-88D4-7F51ABF58236}"/>
              </a:ext>
            </a:extLst>
          </p:cNvPr>
          <p:cNvCxnSpPr>
            <a:cxnSpLocks/>
            <a:stCxn id="47" idx="2"/>
            <a:endCxn id="17" idx="0"/>
          </p:cNvCxnSpPr>
          <p:nvPr/>
        </p:nvCxnSpPr>
        <p:spPr>
          <a:xfrm>
            <a:off x="7718704" y="4706761"/>
            <a:ext cx="4162" cy="45904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7160C827-D3AC-CD4A-95F3-E73D79D0393D}"/>
              </a:ext>
            </a:extLst>
          </p:cNvPr>
          <p:cNvSpPr txBox="1"/>
          <p:nvPr/>
        </p:nvSpPr>
        <p:spPr>
          <a:xfrm>
            <a:off x="7090871" y="4368207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1686DAF8-DCEC-D74C-8607-4BEC08B80C80}"/>
              </a:ext>
            </a:extLst>
          </p:cNvPr>
          <p:cNvSpPr txBox="1"/>
          <p:nvPr/>
        </p:nvSpPr>
        <p:spPr>
          <a:xfrm>
            <a:off x="5468166" y="4361805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pic>
        <p:nvPicPr>
          <p:cNvPr id="61" name="Grafik 60" descr="Server mit einfarbiger Füllung">
            <a:extLst>
              <a:ext uri="{FF2B5EF4-FFF2-40B4-BE49-F238E27FC236}">
                <a16:creationId xmlns:a16="http://schemas.microsoft.com/office/drawing/2014/main" id="{D864B265-8B9C-A644-9F4B-534EA4095C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78206" y="5246649"/>
            <a:ext cx="914400" cy="914400"/>
          </a:xfrm>
          <a:prstGeom prst="rect">
            <a:avLst/>
          </a:prstGeom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1A2E04C5-1A58-C34C-9343-32269575365B}"/>
              </a:ext>
            </a:extLst>
          </p:cNvPr>
          <p:cNvSpPr/>
          <p:nvPr/>
        </p:nvSpPr>
        <p:spPr>
          <a:xfrm>
            <a:off x="8994571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3" name="Grafik 62" descr="Server mit einfarbiger Füllung">
            <a:extLst>
              <a:ext uri="{FF2B5EF4-FFF2-40B4-BE49-F238E27FC236}">
                <a16:creationId xmlns:a16="http://schemas.microsoft.com/office/drawing/2014/main" id="{B52DF911-B736-4045-A632-C3184738F0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05072" y="5246649"/>
            <a:ext cx="914400" cy="914400"/>
          </a:xfrm>
          <a:prstGeom prst="rect">
            <a:avLst/>
          </a:prstGeom>
        </p:spPr>
      </p:pic>
      <p:sp>
        <p:nvSpPr>
          <p:cNvPr id="64" name="Oval 63">
            <a:extLst>
              <a:ext uri="{FF2B5EF4-FFF2-40B4-BE49-F238E27FC236}">
                <a16:creationId xmlns:a16="http://schemas.microsoft.com/office/drawing/2014/main" id="{86C5192C-9CF7-3C4D-A3A5-7713DD7CD29E}"/>
              </a:ext>
            </a:extLst>
          </p:cNvPr>
          <p:cNvSpPr/>
          <p:nvPr/>
        </p:nvSpPr>
        <p:spPr>
          <a:xfrm>
            <a:off x="10621437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BF779725-622F-7540-B41E-744F850DB89D}"/>
              </a:ext>
            </a:extLst>
          </p:cNvPr>
          <p:cNvSpPr/>
          <p:nvPr/>
        </p:nvSpPr>
        <p:spPr>
          <a:xfrm>
            <a:off x="9175520" y="3708061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6" name="Grafik 65" descr="Zahnräder mit einfarbiger Füllung">
            <a:extLst>
              <a:ext uri="{FF2B5EF4-FFF2-40B4-BE49-F238E27FC236}">
                <a16:creationId xmlns:a16="http://schemas.microsoft.com/office/drawing/2014/main" id="{CFD36390-F401-FA40-9B63-FB9FAE7863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65659" y="3778400"/>
            <a:ext cx="579321" cy="579321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353DF4DF-C3A5-4A44-89FE-2E7A6374BA99}"/>
              </a:ext>
            </a:extLst>
          </p:cNvPr>
          <p:cNvSpPr/>
          <p:nvPr/>
        </p:nvSpPr>
        <p:spPr>
          <a:xfrm>
            <a:off x="10801880" y="3708061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8" name="Grafik 67" descr="Zahnräder mit einfarbiger Füllung">
            <a:extLst>
              <a:ext uri="{FF2B5EF4-FFF2-40B4-BE49-F238E27FC236}">
                <a16:creationId xmlns:a16="http://schemas.microsoft.com/office/drawing/2014/main" id="{7FCD5E62-861A-5848-AE39-0288FB04F3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92019" y="3778400"/>
            <a:ext cx="579321" cy="579321"/>
          </a:xfrm>
          <a:prstGeom prst="rect">
            <a:avLst/>
          </a:prstGeom>
        </p:spPr>
      </p:pic>
      <p:cxnSp>
        <p:nvCxnSpPr>
          <p:cNvPr id="69" name="Gerade Verbindung 68">
            <a:extLst>
              <a:ext uri="{FF2B5EF4-FFF2-40B4-BE49-F238E27FC236}">
                <a16:creationId xmlns:a16="http://schemas.microsoft.com/office/drawing/2014/main" id="{77787FEC-E088-494A-9B57-83842D9817A8}"/>
              </a:ext>
            </a:extLst>
          </p:cNvPr>
          <p:cNvCxnSpPr>
            <a:cxnSpLocks/>
            <a:stCxn id="72" idx="2"/>
            <a:endCxn id="62" idx="0"/>
          </p:cNvCxnSpPr>
          <p:nvPr/>
        </p:nvCxnSpPr>
        <p:spPr>
          <a:xfrm>
            <a:off x="9535405" y="4700359"/>
            <a:ext cx="1" cy="465444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0" name="Gerade Verbindung 69">
            <a:extLst>
              <a:ext uri="{FF2B5EF4-FFF2-40B4-BE49-F238E27FC236}">
                <a16:creationId xmlns:a16="http://schemas.microsoft.com/office/drawing/2014/main" id="{D5C89746-6B47-1A4D-AF27-35CB32637D0D}"/>
              </a:ext>
            </a:extLst>
          </p:cNvPr>
          <p:cNvCxnSpPr>
            <a:cxnSpLocks/>
            <a:stCxn id="71" idx="2"/>
            <a:endCxn id="64" idx="0"/>
          </p:cNvCxnSpPr>
          <p:nvPr/>
        </p:nvCxnSpPr>
        <p:spPr>
          <a:xfrm>
            <a:off x="11158110" y="4706761"/>
            <a:ext cx="4162" cy="45904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1" name="Textfeld 70">
            <a:extLst>
              <a:ext uri="{FF2B5EF4-FFF2-40B4-BE49-F238E27FC236}">
                <a16:creationId xmlns:a16="http://schemas.microsoft.com/office/drawing/2014/main" id="{0E3F260B-FB9E-6441-B257-6FC09A42CF23}"/>
              </a:ext>
            </a:extLst>
          </p:cNvPr>
          <p:cNvSpPr txBox="1"/>
          <p:nvPr/>
        </p:nvSpPr>
        <p:spPr>
          <a:xfrm>
            <a:off x="10530277" y="4368207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8BB7D3FE-15A0-5045-8D9B-17672384B1D7}"/>
              </a:ext>
            </a:extLst>
          </p:cNvPr>
          <p:cNvSpPr txBox="1"/>
          <p:nvPr/>
        </p:nvSpPr>
        <p:spPr>
          <a:xfrm>
            <a:off x="8907572" y="4361805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66E4D4E9-4771-7F4D-88A6-C791BB4A41B1}"/>
              </a:ext>
            </a:extLst>
          </p:cNvPr>
          <p:cNvSpPr/>
          <p:nvPr/>
        </p:nvSpPr>
        <p:spPr>
          <a:xfrm>
            <a:off x="10801880" y="2151503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4" name="Grafik 73" descr="Zahnräder mit einfarbiger Füllung">
            <a:extLst>
              <a:ext uri="{FF2B5EF4-FFF2-40B4-BE49-F238E27FC236}">
                <a16:creationId xmlns:a16="http://schemas.microsoft.com/office/drawing/2014/main" id="{EBC67FB3-1E53-994E-8256-9B29CDC3FB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92019" y="2221842"/>
            <a:ext cx="579321" cy="579321"/>
          </a:xfrm>
          <a:prstGeom prst="rect">
            <a:avLst/>
          </a:prstGeom>
        </p:spPr>
      </p:pic>
      <p:sp>
        <p:nvSpPr>
          <p:cNvPr id="75" name="Oval 74">
            <a:extLst>
              <a:ext uri="{FF2B5EF4-FFF2-40B4-BE49-F238E27FC236}">
                <a16:creationId xmlns:a16="http://schemas.microsoft.com/office/drawing/2014/main" id="{9ACA392B-F396-754B-AD71-6807D5034C60}"/>
              </a:ext>
            </a:extLst>
          </p:cNvPr>
          <p:cNvSpPr/>
          <p:nvPr/>
        </p:nvSpPr>
        <p:spPr>
          <a:xfrm>
            <a:off x="5736114" y="2151503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6" name="Grafik 75" descr="Zahnräder mit einfarbiger Füllung">
            <a:extLst>
              <a:ext uri="{FF2B5EF4-FFF2-40B4-BE49-F238E27FC236}">
                <a16:creationId xmlns:a16="http://schemas.microsoft.com/office/drawing/2014/main" id="{74A0EE9A-D444-C24F-A5C0-A41DA3A4DC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26253" y="2221842"/>
            <a:ext cx="579321" cy="579321"/>
          </a:xfrm>
          <a:prstGeom prst="rect">
            <a:avLst/>
          </a:prstGeom>
        </p:spPr>
      </p:pic>
      <p:sp>
        <p:nvSpPr>
          <p:cNvPr id="77" name="Textfeld 76">
            <a:extLst>
              <a:ext uri="{FF2B5EF4-FFF2-40B4-BE49-F238E27FC236}">
                <a16:creationId xmlns:a16="http://schemas.microsoft.com/office/drawing/2014/main" id="{8043B1E6-81EF-2D4E-AD94-2B470CB7C9C3}"/>
              </a:ext>
            </a:extLst>
          </p:cNvPr>
          <p:cNvSpPr txBox="1"/>
          <p:nvPr/>
        </p:nvSpPr>
        <p:spPr>
          <a:xfrm>
            <a:off x="10553846" y="1743938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4DB0F1E4-EFE6-ED44-8BCD-9DF4C34EAE7A}"/>
              </a:ext>
            </a:extLst>
          </p:cNvPr>
          <p:cNvSpPr txBox="1"/>
          <p:nvPr/>
        </p:nvSpPr>
        <p:spPr>
          <a:xfrm>
            <a:off x="5488080" y="1743938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cxnSp>
        <p:nvCxnSpPr>
          <p:cNvPr id="79" name="Gerade Verbindung 78">
            <a:extLst>
              <a:ext uri="{FF2B5EF4-FFF2-40B4-BE49-F238E27FC236}">
                <a16:creationId xmlns:a16="http://schemas.microsoft.com/office/drawing/2014/main" id="{9DB9021F-188E-5D4E-B495-582207B269CF}"/>
              </a:ext>
            </a:extLst>
          </p:cNvPr>
          <p:cNvCxnSpPr>
            <a:cxnSpLocks/>
            <a:stCxn id="75" idx="4"/>
            <a:endCxn id="24" idx="0"/>
          </p:cNvCxnSpPr>
          <p:nvPr/>
        </p:nvCxnSpPr>
        <p:spPr>
          <a:xfrm>
            <a:off x="6115914" y="2871503"/>
            <a:ext cx="0" cy="836558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2" name="Gerade Verbindung 81">
            <a:extLst>
              <a:ext uri="{FF2B5EF4-FFF2-40B4-BE49-F238E27FC236}">
                <a16:creationId xmlns:a16="http://schemas.microsoft.com/office/drawing/2014/main" id="{5BED4928-E948-E146-BBFA-251E6B789027}"/>
              </a:ext>
            </a:extLst>
          </p:cNvPr>
          <p:cNvCxnSpPr>
            <a:cxnSpLocks/>
            <a:stCxn id="75" idx="6"/>
            <a:endCxn id="27" idx="4"/>
          </p:cNvCxnSpPr>
          <p:nvPr/>
        </p:nvCxnSpPr>
        <p:spPr>
          <a:xfrm flipV="1">
            <a:off x="6495714" y="2136951"/>
            <a:ext cx="2139511" cy="37455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5" name="Gerade Verbindung 84">
            <a:extLst>
              <a:ext uri="{FF2B5EF4-FFF2-40B4-BE49-F238E27FC236}">
                <a16:creationId xmlns:a16="http://schemas.microsoft.com/office/drawing/2014/main" id="{92B6857D-96DB-0E43-B7D6-AC262D2672DD}"/>
              </a:ext>
            </a:extLst>
          </p:cNvPr>
          <p:cNvCxnSpPr>
            <a:cxnSpLocks/>
            <a:stCxn id="24" idx="0"/>
            <a:endCxn id="27" idx="4"/>
          </p:cNvCxnSpPr>
          <p:nvPr/>
        </p:nvCxnSpPr>
        <p:spPr>
          <a:xfrm flipV="1">
            <a:off x="6115914" y="2136951"/>
            <a:ext cx="2519311" cy="1571110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9" name="Gerade Verbindung 88">
            <a:extLst>
              <a:ext uri="{FF2B5EF4-FFF2-40B4-BE49-F238E27FC236}">
                <a16:creationId xmlns:a16="http://schemas.microsoft.com/office/drawing/2014/main" id="{468085AE-C026-3840-8DD6-12D9980D6DC6}"/>
              </a:ext>
            </a:extLst>
          </p:cNvPr>
          <p:cNvCxnSpPr>
            <a:cxnSpLocks/>
            <a:stCxn id="28" idx="0"/>
            <a:endCxn id="27" idx="4"/>
          </p:cNvCxnSpPr>
          <p:nvPr/>
        </p:nvCxnSpPr>
        <p:spPr>
          <a:xfrm flipV="1">
            <a:off x="7742274" y="2136951"/>
            <a:ext cx="892951" cy="1571110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3" name="Gerade Verbindung 92">
            <a:extLst>
              <a:ext uri="{FF2B5EF4-FFF2-40B4-BE49-F238E27FC236}">
                <a16:creationId xmlns:a16="http://schemas.microsoft.com/office/drawing/2014/main" id="{CCBF71D3-F54F-5D4F-B1A6-FCA1C290D788}"/>
              </a:ext>
            </a:extLst>
          </p:cNvPr>
          <p:cNvCxnSpPr>
            <a:cxnSpLocks/>
            <a:stCxn id="67" idx="0"/>
            <a:endCxn id="27" idx="4"/>
          </p:cNvCxnSpPr>
          <p:nvPr/>
        </p:nvCxnSpPr>
        <p:spPr>
          <a:xfrm flipH="1" flipV="1">
            <a:off x="8635225" y="2136951"/>
            <a:ext cx="2546455" cy="1571110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6" name="Gerade Verbindung 95">
            <a:extLst>
              <a:ext uri="{FF2B5EF4-FFF2-40B4-BE49-F238E27FC236}">
                <a16:creationId xmlns:a16="http://schemas.microsoft.com/office/drawing/2014/main" id="{17F5607C-E551-4449-84F7-3483BFF74FAA}"/>
              </a:ext>
            </a:extLst>
          </p:cNvPr>
          <p:cNvCxnSpPr>
            <a:cxnSpLocks/>
            <a:stCxn id="27" idx="4"/>
            <a:endCxn id="73" idx="2"/>
          </p:cNvCxnSpPr>
          <p:nvPr/>
        </p:nvCxnSpPr>
        <p:spPr>
          <a:xfrm>
            <a:off x="8635225" y="2136951"/>
            <a:ext cx="2166655" cy="37455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9" name="Gerade Verbindung 98">
            <a:extLst>
              <a:ext uri="{FF2B5EF4-FFF2-40B4-BE49-F238E27FC236}">
                <a16:creationId xmlns:a16="http://schemas.microsoft.com/office/drawing/2014/main" id="{E1F465D0-4EFE-4444-9B2F-F1D2759A7C53}"/>
              </a:ext>
            </a:extLst>
          </p:cNvPr>
          <p:cNvCxnSpPr>
            <a:cxnSpLocks/>
            <a:stCxn id="65" idx="0"/>
            <a:endCxn id="27" idx="4"/>
          </p:cNvCxnSpPr>
          <p:nvPr/>
        </p:nvCxnSpPr>
        <p:spPr>
          <a:xfrm flipH="1" flipV="1">
            <a:off x="8635225" y="2136951"/>
            <a:ext cx="920095" cy="1571110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2" name="Gerade Verbindung 101">
            <a:extLst>
              <a:ext uri="{FF2B5EF4-FFF2-40B4-BE49-F238E27FC236}">
                <a16:creationId xmlns:a16="http://schemas.microsoft.com/office/drawing/2014/main" id="{731C0858-6DE6-194D-A6F7-6EC3515DD335}"/>
              </a:ext>
            </a:extLst>
          </p:cNvPr>
          <p:cNvCxnSpPr>
            <a:cxnSpLocks/>
            <a:stCxn id="65" idx="0"/>
            <a:endCxn id="73" idx="2"/>
          </p:cNvCxnSpPr>
          <p:nvPr/>
        </p:nvCxnSpPr>
        <p:spPr>
          <a:xfrm flipV="1">
            <a:off x="9555320" y="2511503"/>
            <a:ext cx="1246560" cy="1196558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7" name="Textfeld 106">
            <a:extLst>
              <a:ext uri="{FF2B5EF4-FFF2-40B4-BE49-F238E27FC236}">
                <a16:creationId xmlns:a16="http://schemas.microsoft.com/office/drawing/2014/main" id="{8B3CE983-A261-C249-8F00-80D1A87582BB}"/>
              </a:ext>
            </a:extLst>
          </p:cNvPr>
          <p:cNvSpPr txBox="1"/>
          <p:nvPr/>
        </p:nvSpPr>
        <p:spPr>
          <a:xfrm>
            <a:off x="7242280" y="6321795"/>
            <a:ext cx="2602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CC4C03"/>
                </a:solidFill>
              </a:rPr>
              <a:t>Microservice</a:t>
            </a:r>
            <a:r>
              <a:rPr lang="de-DE" dirty="0">
                <a:solidFill>
                  <a:srgbClr val="CC4C03"/>
                </a:solidFill>
              </a:rPr>
              <a:t> </a:t>
            </a:r>
            <a:r>
              <a:rPr lang="de-DE" dirty="0" err="1">
                <a:solidFill>
                  <a:srgbClr val="CC4C03"/>
                </a:solidFill>
              </a:rPr>
              <a:t>Architecture</a:t>
            </a:r>
            <a:endParaRPr lang="de-DE" dirty="0">
              <a:solidFill>
                <a:srgbClr val="CC4C03"/>
              </a:solidFill>
            </a:endParaRPr>
          </a:p>
        </p:txBody>
      </p:sp>
      <p:cxnSp>
        <p:nvCxnSpPr>
          <p:cNvPr id="108" name="Gerade Verbindung 107">
            <a:extLst>
              <a:ext uri="{FF2B5EF4-FFF2-40B4-BE49-F238E27FC236}">
                <a16:creationId xmlns:a16="http://schemas.microsoft.com/office/drawing/2014/main" id="{B4BDC088-EC56-974B-A006-1CF807F0A51A}"/>
              </a:ext>
            </a:extLst>
          </p:cNvPr>
          <p:cNvCxnSpPr>
            <a:cxnSpLocks/>
          </p:cNvCxnSpPr>
          <p:nvPr/>
        </p:nvCxnSpPr>
        <p:spPr>
          <a:xfrm flipH="1">
            <a:off x="4985978" y="193815"/>
            <a:ext cx="36900" cy="649731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047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AA51FF3C-71A7-42BC-BD00-D97E41E247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1628339"/>
              </p:ext>
            </p:extLst>
          </p:nvPr>
        </p:nvGraphicFramePr>
        <p:xfrm>
          <a:off x="1122334" y="0"/>
          <a:ext cx="10287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3" name="Verbinder: gewinkelt 12">
            <a:extLst>
              <a:ext uri="{FF2B5EF4-FFF2-40B4-BE49-F238E27FC236}">
                <a16:creationId xmlns:a16="http://schemas.microsoft.com/office/drawing/2014/main" id="{A9D25511-2918-4032-996C-F0D6F6A4FE37}"/>
              </a:ext>
            </a:extLst>
          </p:cNvPr>
          <p:cNvCxnSpPr>
            <a:cxnSpLocks/>
          </p:cNvCxnSpPr>
          <p:nvPr/>
        </p:nvCxnSpPr>
        <p:spPr>
          <a:xfrm rot="10800000" flipV="1">
            <a:off x="2909455" y="3297673"/>
            <a:ext cx="495228" cy="387635"/>
          </a:xfrm>
          <a:prstGeom prst="bentConnector3">
            <a:avLst>
              <a:gd name="adj1" fmla="val 2441"/>
            </a:avLst>
          </a:prstGeom>
          <a:ln w="12700">
            <a:solidFill>
              <a:srgbClr val="CC4C0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D167AE66-F33C-43EA-807B-AD79DEB630BA}"/>
              </a:ext>
            </a:extLst>
          </p:cNvPr>
          <p:cNvCxnSpPr/>
          <p:nvPr/>
        </p:nvCxnSpPr>
        <p:spPr>
          <a:xfrm>
            <a:off x="9132619" y="4243388"/>
            <a:ext cx="0" cy="285750"/>
          </a:xfrm>
          <a:prstGeom prst="line">
            <a:avLst/>
          </a:prstGeom>
          <a:ln w="12700">
            <a:solidFill>
              <a:srgbClr val="CC4C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Verbinder: gewinkelt 12">
            <a:extLst>
              <a:ext uri="{FF2B5EF4-FFF2-40B4-BE49-F238E27FC236}">
                <a16:creationId xmlns:a16="http://schemas.microsoft.com/office/drawing/2014/main" id="{94AEEAEA-5B1A-4143-ABDC-4AD69D924915}"/>
              </a:ext>
            </a:extLst>
          </p:cNvPr>
          <p:cNvCxnSpPr>
            <a:cxnSpLocks/>
          </p:cNvCxnSpPr>
          <p:nvPr/>
        </p:nvCxnSpPr>
        <p:spPr>
          <a:xfrm rot="10800000" flipV="1">
            <a:off x="6151419" y="3297673"/>
            <a:ext cx="495228" cy="387635"/>
          </a:xfrm>
          <a:prstGeom prst="bentConnector3">
            <a:avLst>
              <a:gd name="adj1" fmla="val 2441"/>
            </a:avLst>
          </a:prstGeom>
          <a:ln w="12700">
            <a:solidFill>
              <a:srgbClr val="CC4C0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0912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  <wetp:taskpane dockstate="right" visibility="0" width="350" row="4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3F311D12-2878-4E9D-90CD-57C5E9A6BA96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5A62A802-CDCC-4D11-A448-D50039419A8E}">
  <we:reference id="wa104381411" version="1.0.0.0" store="de-DE" storeType="OMEX"/>
  <we:alternateReferences>
    <we:reference id="wa104381411" version="1.0.0.0" store="WA104381411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D037E0F555104F902E5D16CA0A3EF6" ma:contentTypeVersion="10" ma:contentTypeDescription="Create a new document." ma:contentTypeScope="" ma:versionID="332afcf416ce8b92cef0b2e94badf80e">
  <xsd:schema xmlns:xsd="http://www.w3.org/2001/XMLSchema" xmlns:xs="http://www.w3.org/2001/XMLSchema" xmlns:p="http://schemas.microsoft.com/office/2006/metadata/properties" xmlns:ns3="b562bb5c-2bcc-446d-a6ab-2c032ef64b30" xmlns:ns4="79484fb9-75e5-47bb-af24-98016862dfff" targetNamespace="http://schemas.microsoft.com/office/2006/metadata/properties" ma:root="true" ma:fieldsID="c8688859e957a02f2175eb501fd6e281" ns3:_="" ns4:_="">
    <xsd:import namespace="b562bb5c-2bcc-446d-a6ab-2c032ef64b30"/>
    <xsd:import namespace="79484fb9-75e5-47bb-af24-98016862dff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62bb5c-2bcc-446d-a6ab-2c032ef64b3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484fb9-75e5-47bb-af24-98016862df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8FBD9BB-23AE-4305-A4C0-798FFEEDEC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62bb5c-2bcc-446d-a6ab-2c032ef64b30"/>
    <ds:schemaRef ds:uri="79484fb9-75e5-47bb-af24-98016862df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B8A4EF0-5538-424E-9A1F-33E7E19B41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E859A4-66A0-4F45-90BF-22901F35710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</Words>
  <Application>Microsoft Macintosh PowerPoint</Application>
  <PresentationFormat>Breitbild</PresentationFormat>
  <Paragraphs>64</Paragraphs>
  <Slides>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8" baseType="lpstr">
      <vt:lpstr>Arial</vt:lpstr>
      <vt:lpstr>Calibri</vt:lpstr>
      <vt:lpstr>Calibri Light</vt:lpstr>
      <vt:lpstr>Office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rn, Angelina</dc:creator>
  <cp:lastModifiedBy>23</cp:lastModifiedBy>
  <cp:revision>19</cp:revision>
  <dcterms:created xsi:type="dcterms:W3CDTF">2021-01-06T10:08:26Z</dcterms:created>
  <dcterms:modified xsi:type="dcterms:W3CDTF">2021-02-18T21:2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D037E0F555104F902E5D16CA0A3EF6</vt:lpwstr>
  </property>
</Properties>
</file>